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8" r:id="rId1"/>
  </p:sldMasterIdLst>
  <p:notesMasterIdLst>
    <p:notesMasterId r:id="rId11"/>
  </p:notesMasterIdLst>
  <p:sldIdLst>
    <p:sldId id="310" r:id="rId2"/>
    <p:sldId id="311" r:id="rId3"/>
    <p:sldId id="313" r:id="rId4"/>
    <p:sldId id="312" r:id="rId5"/>
    <p:sldId id="314" r:id="rId6"/>
    <p:sldId id="315" r:id="rId7"/>
    <p:sldId id="316" r:id="rId8"/>
    <p:sldId id="317" r:id="rId9"/>
    <p:sldId id="318" r:id="rId10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205"/>
    <p:restoredTop sz="94786"/>
  </p:normalViewPr>
  <p:slideViewPr>
    <p:cSldViewPr snapToGrid="0">
      <p:cViewPr varScale="1">
        <p:scale>
          <a:sx n="123" d="100"/>
          <a:sy n="123" d="100"/>
        </p:scale>
        <p:origin x="115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0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1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942731277533045E-2"/>
          <c:y val="3.3827442037248197E-2"/>
          <c:w val="0.91960352422907488"/>
          <c:h val="0.932345115925503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17175</c:v>
                </c:pt>
                <c:pt idx="1">
                  <c:v>17752</c:v>
                </c:pt>
                <c:pt idx="2">
                  <c:v>17140</c:v>
                </c:pt>
                <c:pt idx="3">
                  <c:v>10591</c:v>
                </c:pt>
                <c:pt idx="4">
                  <c:v>6855</c:v>
                </c:pt>
                <c:pt idx="5">
                  <c:v>3736</c:v>
                </c:pt>
                <c:pt idx="6">
                  <c:v>1507.14</c:v>
                </c:pt>
                <c:pt idx="7">
                  <c:v>1557.51</c:v>
                </c:pt>
                <c:pt idx="8">
                  <c:v>1696.83</c:v>
                </c:pt>
                <c:pt idx="9">
                  <c:v>1518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3E-644A-808A-89A21539550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7977</c:v>
                </c:pt>
                <c:pt idx="1">
                  <c:v>8310</c:v>
                </c:pt>
                <c:pt idx="2">
                  <c:v>9107</c:v>
                </c:pt>
                <c:pt idx="3">
                  <c:v>5037</c:v>
                </c:pt>
                <c:pt idx="4">
                  <c:v>3466</c:v>
                </c:pt>
                <c:pt idx="5">
                  <c:v>1571</c:v>
                </c:pt>
                <c:pt idx="6">
                  <c:v>665.97</c:v>
                </c:pt>
                <c:pt idx="7">
                  <c:v>862.12000000000012</c:v>
                </c:pt>
                <c:pt idx="8">
                  <c:v>1092.94</c:v>
                </c:pt>
                <c:pt idx="9">
                  <c:v>643.62000000000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3E-644A-808A-89A215395509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416</c:v>
                </c:pt>
                <c:pt idx="1">
                  <c:v>472</c:v>
                </c:pt>
                <c:pt idx="2">
                  <c:v>459</c:v>
                </c:pt>
                <c:pt idx="3">
                  <c:v>308</c:v>
                </c:pt>
                <c:pt idx="4">
                  <c:v>199</c:v>
                </c:pt>
                <c:pt idx="5">
                  <c:v>109</c:v>
                </c:pt>
                <c:pt idx="6">
                  <c:v>47.869999999999891</c:v>
                </c:pt>
                <c:pt idx="7">
                  <c:v>50.110000000000127</c:v>
                </c:pt>
                <c:pt idx="8">
                  <c:v>43.829999999999927</c:v>
                </c:pt>
                <c:pt idx="9">
                  <c:v>45.9099999999998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3E-644A-808A-89A215395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05146752"/>
        <c:axId val="1"/>
      </c:areaChart>
      <c:catAx>
        <c:axId val="1305146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9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1305146752"/>
        <c:crosses val="min"/>
        <c:crossBetween val="midCat"/>
        <c:majorUnit val="5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7463976945244955E-2"/>
          <c:w val="0.9385342789598109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3493</c:v>
                </c:pt>
                <c:pt idx="1">
                  <c:v>14642</c:v>
                </c:pt>
                <c:pt idx="2">
                  <c:v>13521</c:v>
                </c:pt>
                <c:pt idx="3">
                  <c:v>8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D8-B74B-B59D-6CD1873A760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979</c:v>
                </c:pt>
                <c:pt idx="1">
                  <c:v>5601</c:v>
                </c:pt>
                <c:pt idx="2">
                  <c:v>5689</c:v>
                </c:pt>
                <c:pt idx="3">
                  <c:v>3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D8-B74B-B59D-6CD1873A7602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</c:v>
                </c:pt>
                <c:pt idx="1">
                  <c:v>78</c:v>
                </c:pt>
                <c:pt idx="2">
                  <c:v>66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DD8-B74B-B59D-6CD1873A76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235871"/>
        <c:axId val="1"/>
      </c:areaChart>
      <c:catAx>
        <c:axId val="702358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32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023587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418952618453865E-2"/>
          <c:y val="3.6086051353226928E-2"/>
          <c:w val="0.93516209476309231"/>
          <c:h val="0.92782789729354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794</c:v>
                </c:pt>
                <c:pt idx="1">
                  <c:v>6015</c:v>
                </c:pt>
                <c:pt idx="2">
                  <c:v>5333</c:v>
                </c:pt>
                <c:pt idx="3">
                  <c:v>3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C6-8744-8549-190E39775B17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086</c:v>
                </c:pt>
                <c:pt idx="1">
                  <c:v>2390</c:v>
                </c:pt>
                <c:pt idx="2">
                  <c:v>2343</c:v>
                </c:pt>
                <c:pt idx="3">
                  <c:v>10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2C6-8744-8549-190E39775B17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</c:v>
                </c:pt>
                <c:pt idx="1">
                  <c:v>29</c:v>
                </c:pt>
                <c:pt idx="2">
                  <c:v>30</c:v>
                </c:pt>
                <c:pt idx="3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2C6-8744-8549-190E39775B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3575759"/>
        <c:axId val="1"/>
      </c:areaChart>
      <c:catAx>
        <c:axId val="6135757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3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13575759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167.75</c:v>
                </c:pt>
                <c:pt idx="1">
                  <c:v>1383.04</c:v>
                </c:pt>
                <c:pt idx="2">
                  <c:v>1228.82</c:v>
                </c:pt>
                <c:pt idx="3">
                  <c:v>1148.6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6E-574F-B1BB-645A34722AF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600.82000000000016</c:v>
                </c:pt>
                <c:pt idx="1">
                  <c:v>783.86000000000013</c:v>
                </c:pt>
                <c:pt idx="2">
                  <c:v>411.62999999999988</c:v>
                </c:pt>
                <c:pt idx="3">
                  <c:v>431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6E-574F-B1BB-645A34722AF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9.1900000000000546</c:v>
                </c:pt>
                <c:pt idx="1">
                  <c:v>4.6199999999998909</c:v>
                </c:pt>
                <c:pt idx="2">
                  <c:v>9.9300000000000637</c:v>
                </c:pt>
                <c:pt idx="3">
                  <c:v>6.0999999999999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6E-574F-B1BB-645A34722A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3051200"/>
        <c:axId val="1"/>
      </c:areaChart>
      <c:catAx>
        <c:axId val="393051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1.5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9305120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8776978417266189E-2"/>
          <c:w val="0.9798839458413926"/>
          <c:h val="0.9424460431654676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8.571428571428584</c:v>
                </c:pt>
                <c:pt idx="1">
                  <c:v>290</c:v>
                </c:pt>
                <c:pt idx="2">
                  <c:v>229.99999999999997</c:v>
                </c:pt>
                <c:pt idx="3">
                  <c:v>169</c:v>
                </c:pt>
                <c:pt idx="4">
                  <c:v>100</c:v>
                </c:pt>
                <c:pt idx="5">
                  <c:v>190</c:v>
                </c:pt>
                <c:pt idx="6">
                  <c:v>200</c:v>
                </c:pt>
                <c:pt idx="7">
                  <c:v>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BF9-E449-B8A5-55CC14BEB7D5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47.920380273321442</c:v>
                </c:pt>
                <c:pt idx="1">
                  <c:v>46.73827613308881</c:v>
                </c:pt>
                <c:pt idx="2">
                  <c:v>76.567349472377401</c:v>
                </c:pt>
                <c:pt idx="3">
                  <c:v>52.6</c:v>
                </c:pt>
                <c:pt idx="4">
                  <c:v>9.0361445783132552</c:v>
                </c:pt>
                <c:pt idx="5">
                  <c:v>66.899441340782118</c:v>
                </c:pt>
                <c:pt idx="6">
                  <c:v>67.237687366167023</c:v>
                </c:pt>
                <c:pt idx="7">
                  <c:v>27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F9-E449-B8A5-55CC14BEB7D5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0.657499757916142</c:v>
                </c:pt>
                <c:pt idx="1">
                  <c:v>42.321150855365474</c:v>
                </c:pt>
                <c:pt idx="2">
                  <c:v>37.366656507162446</c:v>
                </c:pt>
                <c:pt idx="3">
                  <c:v>36.5</c:v>
                </c:pt>
                <c:pt idx="4">
                  <c:v>-6.3359034528997604</c:v>
                </c:pt>
                <c:pt idx="5">
                  <c:v>37.800687285223368</c:v>
                </c:pt>
                <c:pt idx="6">
                  <c:v>39.279185165839635</c:v>
                </c:pt>
                <c:pt idx="7">
                  <c:v>32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BF9-E449-B8A5-55CC14BEB7D5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4.990161066977635</c:v>
                </c:pt>
                <c:pt idx="1">
                  <c:v>43.865486725663729</c:v>
                </c:pt>
                <c:pt idx="2">
                  <c:v>47.294818890417247</c:v>
                </c:pt>
                <c:pt idx="3">
                  <c:v>40.9</c:v>
                </c:pt>
                <c:pt idx="4">
                  <c:v>-2.3588456712672512</c:v>
                </c:pt>
                <c:pt idx="5">
                  <c:v>45.213498622589519</c:v>
                </c:pt>
                <c:pt idx="6">
                  <c:v>47.080152671755712</c:v>
                </c:pt>
                <c:pt idx="7">
                  <c:v>3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BF9-E449-B8A5-55CC14BEB7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8795280"/>
        <c:axId val="1"/>
      </c:lineChart>
      <c:catAx>
        <c:axId val="1788795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90"/>
          <c:min val="-6.3359034528997604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88795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946236559139782E-2"/>
          <c:y val="3.8518518518518521E-2"/>
          <c:w val="0.93010752688172038"/>
          <c:h val="0.92296296296296299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682</c:v>
                </c:pt>
                <c:pt idx="1">
                  <c:v>3110</c:v>
                </c:pt>
                <c:pt idx="2">
                  <c:v>3620</c:v>
                </c:pt>
                <c:pt idx="3">
                  <c:v>2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82-A74F-BC31-B6CD0C2CACCD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998</c:v>
                </c:pt>
                <c:pt idx="1">
                  <c:v>2709</c:v>
                </c:pt>
                <c:pt idx="2">
                  <c:v>3418</c:v>
                </c:pt>
                <c:pt idx="3">
                  <c:v>1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82-A74F-BC31-B6CD0C2CACCD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65</c:v>
                </c:pt>
                <c:pt idx="1">
                  <c:v>393</c:v>
                </c:pt>
                <c:pt idx="2">
                  <c:v>395</c:v>
                </c:pt>
                <c:pt idx="3">
                  <c:v>2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82-A74F-BC31-B6CD0C2CAC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03241792"/>
        <c:axId val="1"/>
      </c:areaChart>
      <c:catAx>
        <c:axId val="9032417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3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90324179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61061946902654E-2"/>
          <c:y val="3.7116345467523196E-2"/>
          <c:w val="0.94247787610619471"/>
          <c:h val="0.92576730906495364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648</c:v>
                </c:pt>
                <c:pt idx="1">
                  <c:v>1787</c:v>
                </c:pt>
                <c:pt idx="2">
                  <c:v>1522</c:v>
                </c:pt>
                <c:pt idx="3">
                  <c:v>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A-8549-8A5D-EAB107371F88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576</c:v>
                </c:pt>
                <c:pt idx="1">
                  <c:v>1685</c:v>
                </c:pt>
                <c:pt idx="2">
                  <c:v>1123</c:v>
                </c:pt>
                <c:pt idx="3">
                  <c:v>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4A-8549-8A5D-EAB107371F88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78</c:v>
                </c:pt>
                <c:pt idx="1">
                  <c:v>194</c:v>
                </c:pt>
                <c:pt idx="2">
                  <c:v>169</c:v>
                </c:pt>
                <c:pt idx="3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4A-8549-8A5D-EAB107371F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87845216"/>
        <c:axId val="1"/>
      </c:areaChart>
      <c:catAx>
        <c:axId val="1787845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6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87845216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4486975013291E-2"/>
          <c:y val="3.7463976945244955E-2"/>
          <c:w val="0.94471026049973417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89.76</c:v>
                </c:pt>
                <c:pt idx="1">
                  <c:v>313.79000000000002</c:v>
                </c:pt>
                <c:pt idx="2">
                  <c:v>289.42</c:v>
                </c:pt>
                <c:pt idx="3">
                  <c:v>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12-F746-BC86-154EAF7828A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61.29999999999995</c:v>
                </c:pt>
                <c:pt idx="1">
                  <c:v>309.08</c:v>
                </c:pt>
                <c:pt idx="2">
                  <c:v>232.00000000000006</c:v>
                </c:pt>
                <c:pt idx="3">
                  <c:v>239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12-F746-BC86-154EAF7828A5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40.919999999999959</c:v>
                </c:pt>
                <c:pt idx="1">
                  <c:v>39.200000000000045</c:v>
                </c:pt>
                <c:pt idx="2">
                  <c:v>35.980000000000018</c:v>
                </c:pt>
                <c:pt idx="3">
                  <c:v>42.279999999999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12-F746-BC86-154EAF7828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83743296"/>
        <c:axId val="1"/>
      </c:areaChart>
      <c:catAx>
        <c:axId val="17837432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1.979999999999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83743296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9714285714285714E-2"/>
          <c:w val="0.9798839458413926"/>
          <c:h val="0.94057142857142861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6.328502415458942</c:v>
                </c:pt>
                <c:pt idx="1">
                  <c:v>63.749999999999993</c:v>
                </c:pt>
                <c:pt idx="2">
                  <c:v>54.296875</c:v>
                </c:pt>
                <c:pt idx="3">
                  <c:v>65.900000000000006</c:v>
                </c:pt>
                <c:pt idx="4">
                  <c:v>-9.3023255813953547</c:v>
                </c:pt>
                <c:pt idx="5">
                  <c:v>67.241379310344811</c:v>
                </c:pt>
                <c:pt idx="6">
                  <c:v>62.5</c:v>
                </c:pt>
                <c:pt idx="7">
                  <c:v>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065-E54F-B4AF-5E40981B3A06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59.468085106382972</c:v>
                </c:pt>
                <c:pt idx="1">
                  <c:v>48.846153846153854</c:v>
                </c:pt>
                <c:pt idx="2">
                  <c:v>69.796323894684548</c:v>
                </c:pt>
                <c:pt idx="3">
                  <c:v>23.1</c:v>
                </c:pt>
                <c:pt idx="4">
                  <c:v>-18.297872340425535</c:v>
                </c:pt>
                <c:pt idx="5">
                  <c:v>87.43047830923247</c:v>
                </c:pt>
                <c:pt idx="6">
                  <c:v>24.916573971078982</c:v>
                </c:pt>
                <c:pt idx="7">
                  <c:v>19.4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065-E54F-B4AF-5E40981B3A06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63.281596452328159</c:v>
                </c:pt>
                <c:pt idx="1">
                  <c:v>45.804031879981252</c:v>
                </c:pt>
                <c:pt idx="2">
                  <c:v>44.108280254777064</c:v>
                </c:pt>
                <c:pt idx="3">
                  <c:v>49.7</c:v>
                </c:pt>
                <c:pt idx="4">
                  <c:v>-27.27272727272727</c:v>
                </c:pt>
                <c:pt idx="5">
                  <c:v>61.719457013574662</c:v>
                </c:pt>
                <c:pt idx="6">
                  <c:v>57.720207253886002</c:v>
                </c:pt>
                <c:pt idx="7">
                  <c:v>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065-E54F-B4AF-5E40981B3A06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62.275449101796411</c:v>
                </c:pt>
                <c:pt idx="1">
                  <c:v>48.140200286123026</c:v>
                </c:pt>
                <c:pt idx="2">
                  <c:v>55.427734783518105</c:v>
                </c:pt>
                <c:pt idx="3">
                  <c:v>38.6</c:v>
                </c:pt>
                <c:pt idx="4">
                  <c:v>-22.651605231866824</c:v>
                </c:pt>
                <c:pt idx="5">
                  <c:v>72.924528301886781</c:v>
                </c:pt>
                <c:pt idx="6">
                  <c:v>43.060498220640575</c:v>
                </c:pt>
                <c:pt idx="7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065-E54F-B4AF-5E40981B3A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3853279"/>
        <c:axId val="1"/>
      </c:lineChart>
      <c:catAx>
        <c:axId val="6138532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7.43047830923247"/>
          <c:min val="-27.27272727272727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138532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81791483113069E-2"/>
          <c:w val="0.9385342789598109"/>
          <c:h val="0.92364170337738616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563.4</c:v>
                </c:pt>
                <c:pt idx="1">
                  <c:v>927.5</c:v>
                </c:pt>
                <c:pt idx="2">
                  <c:v>1129</c:v>
                </c:pt>
                <c:pt idx="3">
                  <c:v>78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EC-5C40-9B2B-1A5A9FD1BF0A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6248.000000000002</c:v>
                </c:pt>
                <c:pt idx="1">
                  <c:v>17003</c:v>
                </c:pt>
                <c:pt idx="2">
                  <c:v>15386</c:v>
                </c:pt>
                <c:pt idx="3">
                  <c:v>98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EC-5C40-9B2B-1A5A9FD1BF0A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660</c:v>
                </c:pt>
                <c:pt idx="1">
                  <c:v>826</c:v>
                </c:pt>
                <c:pt idx="2">
                  <c:v>910</c:v>
                </c:pt>
                <c:pt idx="3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EC-5C40-9B2B-1A5A9FD1BF0A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042</c:v>
                </c:pt>
                <c:pt idx="1">
                  <c:v>1554</c:v>
                </c:pt>
                <c:pt idx="2">
                  <c:v>1840</c:v>
                </c:pt>
                <c:pt idx="3">
                  <c:v>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EC-5C40-9B2B-1A5A9FD1BF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089407"/>
        <c:axId val="1"/>
      </c:areaChart>
      <c:catAx>
        <c:axId val="1360894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310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36089407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298136645962733E-2"/>
          <c:y val="3.6827195467422094E-2"/>
          <c:w val="0.93540372670807448"/>
          <c:h val="0.92634560906515584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82</c:v>
                </c:pt>
                <c:pt idx="1">
                  <c:v>597</c:v>
                </c:pt>
                <c:pt idx="2">
                  <c:v>560.4</c:v>
                </c:pt>
                <c:pt idx="3">
                  <c:v>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46-CF4F-AEF6-4F23964D13F8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3354</c:v>
                </c:pt>
                <c:pt idx="1">
                  <c:v>6565</c:v>
                </c:pt>
                <c:pt idx="2">
                  <c:v>6016</c:v>
                </c:pt>
                <c:pt idx="3">
                  <c:v>3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646-CF4F-AEF6-4F23964D13F8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74</c:v>
                </c:pt>
                <c:pt idx="1">
                  <c:v>481</c:v>
                </c:pt>
                <c:pt idx="2">
                  <c:v>292</c:v>
                </c:pt>
                <c:pt idx="3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646-CF4F-AEF6-4F23964D13F8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79</c:v>
                </c:pt>
                <c:pt idx="1">
                  <c:v>786</c:v>
                </c:pt>
                <c:pt idx="2">
                  <c:v>834</c:v>
                </c:pt>
                <c:pt idx="3">
                  <c:v>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646-CF4F-AEF6-4F23964D13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96342112"/>
        <c:axId val="1"/>
      </c:areaChart>
      <c:catAx>
        <c:axId val="12963421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2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9634211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14707619610159E-2"/>
          <c:y val="4.2242079610073112E-2"/>
          <c:w val="0.9385705847607797"/>
          <c:h val="0.9155158407798538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855.2</c:v>
                </c:pt>
                <c:pt idx="1">
                  <c:v>1259.9000000000001</c:v>
                </c:pt>
                <c:pt idx="2">
                  <c:v>1515.1</c:v>
                </c:pt>
                <c:pt idx="3">
                  <c:v>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06-7A4B-AAB5-6D94D821A8F4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1044</c:v>
                </c:pt>
                <c:pt idx="1">
                  <c:v>20855</c:v>
                </c:pt>
                <c:pt idx="2">
                  <c:v>19945</c:v>
                </c:pt>
                <c:pt idx="3">
                  <c:v>12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06-7A4B-AAB5-6D94D821A8F4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363</c:v>
                </c:pt>
                <c:pt idx="1">
                  <c:v>1406</c:v>
                </c:pt>
                <c:pt idx="2">
                  <c:v>1563</c:v>
                </c:pt>
                <c:pt idx="3">
                  <c:v>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106-7A4B-AAB5-6D94D821A8F4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290</c:v>
                </c:pt>
                <c:pt idx="1">
                  <c:v>2978</c:v>
                </c:pt>
                <c:pt idx="2">
                  <c:v>3660</c:v>
                </c:pt>
                <c:pt idx="3">
                  <c:v>1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06-7A4B-AAB5-6D94D821A8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38331823"/>
        <c:axId val="1"/>
      </c:areaChart>
      <c:catAx>
        <c:axId val="2383318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683.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3833182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8319823139277821E-2"/>
          <c:w val="0.94202898550724634"/>
          <c:h val="0.9233603537214443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70</c:v>
                </c:pt>
                <c:pt idx="1">
                  <c:v>257.2</c:v>
                </c:pt>
                <c:pt idx="2">
                  <c:v>40.5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5D-634B-B800-53B4D9747D12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377.83</c:v>
                </c:pt>
                <c:pt idx="1">
                  <c:v>1432.79</c:v>
                </c:pt>
                <c:pt idx="2">
                  <c:v>1504.01</c:v>
                </c:pt>
                <c:pt idx="3">
                  <c:v>140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F5D-634B-B800-53B4D9747D12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2.460000000000036</c:v>
                </c:pt>
                <c:pt idx="1">
                  <c:v>83.740000000000009</c:v>
                </c:pt>
                <c:pt idx="2">
                  <c:v>41.059999999999945</c:v>
                </c:pt>
                <c:pt idx="3">
                  <c:v>65.410000000000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5D-634B-B800-53B4D9747D12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46.58999999999992</c:v>
                </c:pt>
                <c:pt idx="1">
                  <c:v>397.05000000000018</c:v>
                </c:pt>
                <c:pt idx="2">
                  <c:v>63.950000000000045</c:v>
                </c:pt>
                <c:pt idx="3">
                  <c:v>64.3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F5D-634B-B800-53B4D9747D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84163920"/>
        <c:axId val="1"/>
      </c:areaChart>
      <c:catAx>
        <c:axId val="17841639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0.780000000000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8416392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378752886836026E-3"/>
          <c:y val="2.8776978417266189E-2"/>
          <c:w val="0.98152424942263283"/>
          <c:h val="0.9424460431654676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35.004737264047805</c:v>
                </c:pt>
                <c:pt idx="1">
                  <c:v>43.865486725663729</c:v>
                </c:pt>
                <c:pt idx="2">
                  <c:v>47.294818890417247</c:v>
                </c:pt>
                <c:pt idx="3">
                  <c:v>40.9</c:v>
                </c:pt>
                <c:pt idx="4">
                  <c:v>-2.3588456712672512</c:v>
                </c:pt>
                <c:pt idx="5">
                  <c:v>45.213498622589519</c:v>
                </c:pt>
                <c:pt idx="6">
                  <c:v>47.080152671755712</c:v>
                </c:pt>
                <c:pt idx="7">
                  <c:v>3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A-2548-95A1-5C29DE18E8C8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33.761232349165596</c:v>
                </c:pt>
                <c:pt idx="1">
                  <c:v>29.177057356608472</c:v>
                </c:pt>
                <c:pt idx="2">
                  <c:v>154.8476454293629</c:v>
                </c:pt>
                <c:pt idx="3">
                  <c:v>84.3</c:v>
                </c:pt>
                <c:pt idx="4">
                  <c:v>-19.730941704035875</c:v>
                </c:pt>
                <c:pt idx="5">
                  <c:v>126.51296829971184</c:v>
                </c:pt>
                <c:pt idx="6">
                  <c:v>136.26062322946177</c:v>
                </c:pt>
                <c:pt idx="7">
                  <c:v>-17.8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A-2548-95A1-5C29DE18E8C8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7.787056367432157</c:v>
                </c:pt>
                <c:pt idx="1">
                  <c:v>59.76789168278529</c:v>
                </c:pt>
                <c:pt idx="2">
                  <c:v>5.0808314087759765</c:v>
                </c:pt>
                <c:pt idx="3">
                  <c:v>65.400000000000006</c:v>
                </c:pt>
                <c:pt idx="4">
                  <c:v>-38.94736842105263</c:v>
                </c:pt>
                <c:pt idx="5">
                  <c:v>51.735015772870653</c:v>
                </c:pt>
                <c:pt idx="6">
                  <c:v>63.128491620111738</c:v>
                </c:pt>
                <c:pt idx="7">
                  <c:v>70.1999999999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A-2548-95A1-5C29DE18E8C8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1.032258064516128</c:v>
                </c:pt>
                <c:pt idx="1">
                  <c:v>39.391703557960312</c:v>
                </c:pt>
                <c:pt idx="2">
                  <c:v>34.551814604285092</c:v>
                </c:pt>
                <c:pt idx="3">
                  <c:v>27.700000000000003</c:v>
                </c:pt>
                <c:pt idx="4">
                  <c:v>-2.7262180974477968</c:v>
                </c:pt>
                <c:pt idx="5">
                  <c:v>28.297830760211063</c:v>
                </c:pt>
                <c:pt idx="6">
                  <c:v>28.382415706359374</c:v>
                </c:pt>
                <c:pt idx="7">
                  <c:v>26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DCA-2548-95A1-5C29DE18E8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78255968"/>
        <c:axId val="1"/>
      </c:lineChart>
      <c:catAx>
        <c:axId val="12782559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54.8476454293629"/>
          <c:min val="-38.94736842105263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782559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14707619610159E-2"/>
          <c:y val="3.8319823139277821E-2"/>
          <c:w val="0.9385705847607797"/>
          <c:h val="0.9233603537214443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91.79999999999995</c:v>
                </c:pt>
                <c:pt idx="1">
                  <c:v>332.4</c:v>
                </c:pt>
                <c:pt idx="2">
                  <c:v>386.1</c:v>
                </c:pt>
                <c:pt idx="3">
                  <c:v>14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83-B344-9FCB-432628769373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798</c:v>
                </c:pt>
                <c:pt idx="1">
                  <c:v>3851.9999999999995</c:v>
                </c:pt>
                <c:pt idx="2">
                  <c:v>4559</c:v>
                </c:pt>
                <c:pt idx="3">
                  <c:v>2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83-B344-9FCB-432628769373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703</c:v>
                </c:pt>
                <c:pt idx="1">
                  <c:v>580</c:v>
                </c:pt>
                <c:pt idx="2">
                  <c:v>652</c:v>
                </c:pt>
                <c:pt idx="3">
                  <c:v>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83-B344-9FCB-432628769373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250</c:v>
                </c:pt>
                <c:pt idx="1">
                  <c:v>1424</c:v>
                </c:pt>
                <c:pt idx="2">
                  <c:v>1822</c:v>
                </c:pt>
                <c:pt idx="3">
                  <c:v>766.000000000000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F83-B344-9FCB-4326287693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37156832"/>
        <c:axId val="1"/>
      </c:areaChart>
      <c:catAx>
        <c:axId val="16371568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19.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63715683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298136645962733E-2"/>
          <c:y val="3.6905606813342796E-2"/>
          <c:w val="0.93540372670807448"/>
          <c:h val="0.92618878637331437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77.900000000000006</c:v>
                </c:pt>
                <c:pt idx="1">
                  <c:v>128.4</c:v>
                </c:pt>
                <c:pt idx="2">
                  <c:v>73.8</c:v>
                </c:pt>
                <c:pt idx="3">
                  <c:v>6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9F-074D-85BD-13A74023A6F9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34</c:v>
                </c:pt>
                <c:pt idx="1">
                  <c:v>2320</c:v>
                </c:pt>
                <c:pt idx="2">
                  <c:v>1862</c:v>
                </c:pt>
                <c:pt idx="3">
                  <c:v>1010.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9F-074D-85BD-13A74023A6F9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8.00000000000011</c:v>
                </c:pt>
                <c:pt idx="1">
                  <c:v>289</c:v>
                </c:pt>
                <c:pt idx="2">
                  <c:v>310.00000000000023</c:v>
                </c:pt>
                <c:pt idx="3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9F-074D-85BD-13A74023A6F9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59</c:v>
                </c:pt>
                <c:pt idx="1">
                  <c:v>923</c:v>
                </c:pt>
                <c:pt idx="2">
                  <c:v>566</c:v>
                </c:pt>
                <c:pt idx="3">
                  <c:v>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99F-074D-85BD-13A74023A6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30486848"/>
        <c:axId val="1"/>
      </c:areaChart>
      <c:catAx>
        <c:axId val="16304868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60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63048684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092922744462453E-2"/>
          <c:y val="3.8348082595870206E-2"/>
          <c:w val="0.94381415451107509"/>
          <c:h val="0.923303834808259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2.5</c:v>
                </c:pt>
                <c:pt idx="1">
                  <c:v>31.9</c:v>
                </c:pt>
                <c:pt idx="2">
                  <c:v>24.6</c:v>
                </c:pt>
                <c:pt idx="3">
                  <c:v>1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C3-6744-AFB8-FEB3F6FE19C8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30.51</c:v>
                </c:pt>
                <c:pt idx="1">
                  <c:v>365.15</c:v>
                </c:pt>
                <c:pt idx="2">
                  <c:v>426.47</c:v>
                </c:pt>
                <c:pt idx="3">
                  <c:v>434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C3-6744-AFB8-FEB3F6FE19C8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09.25</c:v>
                </c:pt>
                <c:pt idx="1">
                  <c:v>75.69</c:v>
                </c:pt>
                <c:pt idx="2">
                  <c:v>29.069999999999993</c:v>
                </c:pt>
                <c:pt idx="3">
                  <c:v>55.05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C3-6744-AFB8-FEB3F6FE19C8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39.01999999999998</c:v>
                </c:pt>
                <c:pt idx="1">
                  <c:v>187.63999999999993</c:v>
                </c:pt>
                <c:pt idx="2">
                  <c:v>75.44</c:v>
                </c:pt>
                <c:pt idx="3">
                  <c:v>92.35999999999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C3-6744-AFB8-FEB3F6FE19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34045504"/>
        <c:axId val="1"/>
      </c:areaChart>
      <c:catAx>
        <c:axId val="1634045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1.2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63404550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378752886836026E-3"/>
          <c:y val="2.7397260273972601E-2"/>
          <c:w val="0.98152424942263283"/>
          <c:h val="0.945205479452054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62.275449101796411</c:v>
                </c:pt>
                <c:pt idx="1">
                  <c:v>48.140200286123026</c:v>
                </c:pt>
                <c:pt idx="2">
                  <c:v>55.427734783518105</c:v>
                </c:pt>
                <c:pt idx="3">
                  <c:v>38.6</c:v>
                </c:pt>
                <c:pt idx="4">
                  <c:v>-22.651605231866824</c:v>
                </c:pt>
                <c:pt idx="5">
                  <c:v>72.924528301886781</c:v>
                </c:pt>
                <c:pt idx="6">
                  <c:v>43.060498220640575</c:v>
                </c:pt>
                <c:pt idx="7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1DB-BB4F-9A4F-44A86FB62998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18.147448015122869</c:v>
                </c:pt>
                <c:pt idx="1">
                  <c:v>31.729879740980582</c:v>
                </c:pt>
                <c:pt idx="2">
                  <c:v>69.016697588126164</c:v>
                </c:pt>
                <c:pt idx="3">
                  <c:v>15.8</c:v>
                </c:pt>
                <c:pt idx="4">
                  <c:v>-28.055555555555557</c:v>
                </c:pt>
                <c:pt idx="5">
                  <c:v>94.31578947368422</c:v>
                </c:pt>
                <c:pt idx="6">
                  <c:v>21.459227467811147</c:v>
                </c:pt>
                <c:pt idx="7">
                  <c:v>1.12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1DB-BB4F-9A4F-44A86FB62998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126.77419354838707</c:v>
                </c:pt>
                <c:pt idx="1">
                  <c:v>54.255319148936174</c:v>
                </c:pt>
                <c:pt idx="2">
                  <c:v>32.520325203252028</c:v>
                </c:pt>
                <c:pt idx="3">
                  <c:v>63</c:v>
                </c:pt>
                <c:pt idx="4">
                  <c:v>-17.948717948717952</c:v>
                </c:pt>
                <c:pt idx="5">
                  <c:v>11.153846153846159</c:v>
                </c:pt>
                <c:pt idx="6">
                  <c:v>75.141242937853121</c:v>
                </c:pt>
                <c:pt idx="7">
                  <c:v>3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1DB-BB4F-9A4F-44A86FB62998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62.588952897322933</c:v>
                </c:pt>
                <c:pt idx="1">
                  <c:v>40.840950639853759</c:v>
                </c:pt>
                <c:pt idx="2">
                  <c:v>42.069180430040511</c:v>
                </c:pt>
                <c:pt idx="3">
                  <c:v>38</c:v>
                </c:pt>
                <c:pt idx="4">
                  <c:v>-28.473413379073754</c:v>
                </c:pt>
                <c:pt idx="5">
                  <c:v>67.630057803468205</c:v>
                </c:pt>
                <c:pt idx="6">
                  <c:v>44.229279628195208</c:v>
                </c:pt>
                <c:pt idx="7">
                  <c:v>27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1DB-BB4F-9A4F-44A86FB629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24627808"/>
        <c:axId val="1"/>
      </c:lineChart>
      <c:catAx>
        <c:axId val="1224627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26.77419354838707"/>
          <c:min val="-28.473413379073754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24627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8011695906432746E-2"/>
          <c:w val="0.9385342789598109"/>
          <c:h val="0.9239766081871344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638.79999999999995</c:v>
                </c:pt>
                <c:pt idx="1">
                  <c:v>1009.4000000000001</c:v>
                </c:pt>
                <c:pt idx="2">
                  <c:v>1302.2</c:v>
                </c:pt>
                <c:pt idx="3">
                  <c:v>78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F6-E943-91C6-45818250B088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4416</c:v>
                </c:pt>
                <c:pt idx="1">
                  <c:v>14535</c:v>
                </c:pt>
                <c:pt idx="2">
                  <c:v>13705</c:v>
                </c:pt>
                <c:pt idx="3">
                  <c:v>88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F6-E943-91C6-45818250B088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744</c:v>
                </c:pt>
                <c:pt idx="1">
                  <c:v>871.00000000000182</c:v>
                </c:pt>
                <c:pt idx="2">
                  <c:v>1067</c:v>
                </c:pt>
                <c:pt idx="3">
                  <c:v>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F6-E943-91C6-45818250B088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380</c:v>
                </c:pt>
                <c:pt idx="1">
                  <c:v>1336</c:v>
                </c:pt>
                <c:pt idx="2">
                  <c:v>1065</c:v>
                </c:pt>
                <c:pt idx="3">
                  <c:v>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1F6-E943-91C6-45818250B0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39538944"/>
        <c:axId val="1"/>
      </c:areaChart>
      <c:catAx>
        <c:axId val="1239538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751.40000000000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3953894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34351145038167E-2"/>
          <c:y val="3.6723163841807911E-2"/>
          <c:w val="0.93893129770992367"/>
          <c:h val="0.92655367231638419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15.8</c:v>
                </c:pt>
                <c:pt idx="1">
                  <c:v>646.1</c:v>
                </c:pt>
                <c:pt idx="2">
                  <c:v>527.5</c:v>
                </c:pt>
                <c:pt idx="3">
                  <c:v>25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3C-FF4A-AA9C-CD77293AFDEE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874</c:v>
                </c:pt>
                <c:pt idx="1">
                  <c:v>6115</c:v>
                </c:pt>
                <c:pt idx="2">
                  <c:v>5444</c:v>
                </c:pt>
                <c:pt idx="3">
                  <c:v>33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3C-FF4A-AA9C-CD77293AFDEE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89</c:v>
                </c:pt>
                <c:pt idx="1">
                  <c:v>528</c:v>
                </c:pt>
                <c:pt idx="2">
                  <c:v>403</c:v>
                </c:pt>
                <c:pt idx="3">
                  <c:v>1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03C-FF4A-AA9C-CD77293AFDEE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62</c:v>
                </c:pt>
                <c:pt idx="1">
                  <c:v>513</c:v>
                </c:pt>
                <c:pt idx="2">
                  <c:v>481</c:v>
                </c:pt>
                <c:pt idx="3">
                  <c:v>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3C-FF4A-AA9C-CD77293AFD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3078800"/>
        <c:axId val="1"/>
      </c:areaChart>
      <c:catAx>
        <c:axId val="393078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802.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9307880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197444831591175E-2"/>
          <c:y val="3.815113719735877E-2"/>
          <c:w val="0.93960511033681771"/>
          <c:h val="0.9236977256052825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69</c:v>
                </c:pt>
                <c:pt idx="1">
                  <c:v>243.8</c:v>
                </c:pt>
                <c:pt idx="2">
                  <c:v>49.2</c:v>
                </c:pt>
                <c:pt idx="3">
                  <c:v>4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05-D14A-9024-A1D5E86C0BB5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232.27</c:v>
                </c:pt>
                <c:pt idx="1">
                  <c:v>1241.33</c:v>
                </c:pt>
                <c:pt idx="2">
                  <c:v>1344.24</c:v>
                </c:pt>
                <c:pt idx="3">
                  <c:v>1271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05-D14A-9024-A1D5E86C0BB5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35.15000000000009</c:v>
                </c:pt>
                <c:pt idx="1">
                  <c:v>105.51999999999998</c:v>
                </c:pt>
                <c:pt idx="2">
                  <c:v>40.559999999999945</c:v>
                </c:pt>
                <c:pt idx="3">
                  <c:v>60.8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05-D14A-9024-A1D5E86C0BB5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21.11999999999989</c:v>
                </c:pt>
                <c:pt idx="1">
                  <c:v>106.16000000000008</c:v>
                </c:pt>
                <c:pt idx="2">
                  <c:v>84.230000000000018</c:v>
                </c:pt>
                <c:pt idx="3">
                  <c:v>87.5899999999999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205-D14A-9024-A1D5E86C0B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18580992"/>
        <c:axId val="1"/>
      </c:areaChart>
      <c:catAx>
        <c:axId val="20185809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96.8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01858099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9697315819531698E-2"/>
          <c:w val="0.9798839458413926"/>
          <c:h val="0.9406053683609365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36.528373867429664</c:v>
                </c:pt>
                <c:pt idx="1">
                  <c:v>42.896240843596559</c:v>
                </c:pt>
                <c:pt idx="2">
                  <c:v>38.729259409146088</c:v>
                </c:pt>
                <c:pt idx="3">
                  <c:v>39.1</c:v>
                </c:pt>
                <c:pt idx="4">
                  <c:v>-11.177077955601444</c:v>
                </c:pt>
                <c:pt idx="5">
                  <c:v>42.632541133455206</c:v>
                </c:pt>
                <c:pt idx="6">
                  <c:v>42.991239048811011</c:v>
                </c:pt>
                <c:pt idx="7">
                  <c:v>32.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0DE-8E45-BAA3-C5DED53FB562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48.867313915857615</c:v>
                </c:pt>
                <c:pt idx="1">
                  <c:v>42.279020234291799</c:v>
                </c:pt>
                <c:pt idx="2">
                  <c:v>8.3418107833163724</c:v>
                </c:pt>
                <c:pt idx="3">
                  <c:v>4.72</c:v>
                </c:pt>
                <c:pt idx="4">
                  <c:v>-43.944636678200688</c:v>
                </c:pt>
                <c:pt idx="5">
                  <c:v>10.799136069114468</c:v>
                </c:pt>
                <c:pt idx="6">
                  <c:v>12.646370023419195</c:v>
                </c:pt>
                <c:pt idx="7">
                  <c:v>-1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DE-8E45-BAA3-C5DED53FB562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41.984732824427475</c:v>
                </c:pt>
                <c:pt idx="1">
                  <c:v>22.50351617440225</c:v>
                </c:pt>
                <c:pt idx="2">
                  <c:v>-4.9019607843137303</c:v>
                </c:pt>
                <c:pt idx="3">
                  <c:v>70.5</c:v>
                </c:pt>
                <c:pt idx="4">
                  <c:v>-48.641304347826086</c:v>
                </c:pt>
                <c:pt idx="5">
                  <c:v>17.073170731707311</c:v>
                </c:pt>
                <c:pt idx="6">
                  <c:v>93.75</c:v>
                </c:pt>
                <c:pt idx="7">
                  <c:v>16.9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DE-8E45-BAA3-C5DED53FB562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0.414329654423746</c:v>
                </c:pt>
                <c:pt idx="1">
                  <c:v>37.329931972789112</c:v>
                </c:pt>
                <c:pt idx="2">
                  <c:v>34.336404626543818</c:v>
                </c:pt>
                <c:pt idx="3">
                  <c:v>31</c:v>
                </c:pt>
                <c:pt idx="4">
                  <c:v>-9.9906044472283124</c:v>
                </c:pt>
                <c:pt idx="5">
                  <c:v>34.8401323042999</c:v>
                </c:pt>
                <c:pt idx="6">
                  <c:v>32.489656850815287</c:v>
                </c:pt>
                <c:pt idx="7">
                  <c:v>28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DE-8E45-BAA3-C5DED53FB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4260367"/>
        <c:axId val="1"/>
      </c:lineChart>
      <c:catAx>
        <c:axId val="6142603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93.75"/>
          <c:min val="-48.641304347826086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142603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994923857868022E-2"/>
          <c:y val="3.81791483113069E-2"/>
          <c:w val="0.93401015228426398"/>
          <c:h val="0.92364170337738616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59.89999999999998</c:v>
                </c:pt>
                <c:pt idx="1">
                  <c:v>725.4</c:v>
                </c:pt>
                <c:pt idx="2">
                  <c:v>634.20000000000005</c:v>
                </c:pt>
                <c:pt idx="3">
                  <c:v>26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FB-1749-AE55-A55A134AB1B4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189</c:v>
                </c:pt>
                <c:pt idx="1">
                  <c:v>8885</c:v>
                </c:pt>
                <c:pt idx="2">
                  <c:v>7878.0000000000009</c:v>
                </c:pt>
                <c:pt idx="3">
                  <c:v>4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FB-1749-AE55-A55A134AB1B4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02</c:v>
                </c:pt>
                <c:pt idx="1">
                  <c:v>771</c:v>
                </c:pt>
                <c:pt idx="2">
                  <c:v>603</c:v>
                </c:pt>
                <c:pt idx="3">
                  <c:v>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FB-1749-AE55-A55A134AB1B4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437</c:v>
                </c:pt>
                <c:pt idx="1">
                  <c:v>1709</c:v>
                </c:pt>
                <c:pt idx="2">
                  <c:v>1400</c:v>
                </c:pt>
                <c:pt idx="3">
                  <c:v>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FFB-1749-AE55-A55A134AB1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80343920"/>
        <c:axId val="1"/>
      </c:areaChart>
      <c:catAx>
        <c:axId val="12803439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90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8034392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14707619610159E-2"/>
          <c:y val="3.8433111603843315E-2"/>
          <c:w val="0.9385705847607797"/>
          <c:h val="0.92313377679231334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05.5</c:v>
                </c:pt>
                <c:pt idx="1">
                  <c:v>181</c:v>
                </c:pt>
                <c:pt idx="2">
                  <c:v>166.2</c:v>
                </c:pt>
                <c:pt idx="3">
                  <c:v>12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29-0940-B839-1A0EFCA050CD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6363</c:v>
                </c:pt>
                <c:pt idx="1">
                  <c:v>6083</c:v>
                </c:pt>
                <c:pt idx="2">
                  <c:v>5990</c:v>
                </c:pt>
                <c:pt idx="3">
                  <c:v>3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29-0940-B839-1A0EFCA050CD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84</c:v>
                </c:pt>
                <c:pt idx="1">
                  <c:v>466</c:v>
                </c:pt>
                <c:pt idx="2">
                  <c:v>450</c:v>
                </c:pt>
                <c:pt idx="3">
                  <c:v>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29-0940-B839-1A0EFCA050CD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811</c:v>
                </c:pt>
                <c:pt idx="1">
                  <c:v>1545</c:v>
                </c:pt>
                <c:pt idx="2">
                  <c:v>2479.0000000000009</c:v>
                </c:pt>
                <c:pt idx="3">
                  <c:v>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29-0940-B839-1A0EFCA050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42879152"/>
        <c:axId val="1"/>
      </c:areaChart>
      <c:catAx>
        <c:axId val="21428791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85.200000000000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14287915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882280809319437E-2"/>
          <c:y val="3.7063435495367072E-2"/>
          <c:w val="0.93623543838136114"/>
          <c:h val="0.9258731290092658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3</c:v>
                </c:pt>
                <c:pt idx="1">
                  <c:v>58.2</c:v>
                </c:pt>
                <c:pt idx="2">
                  <c:v>91.5</c:v>
                </c:pt>
                <c:pt idx="3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95-5B49-9695-7DEB01E94DD6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263</c:v>
                </c:pt>
                <c:pt idx="1">
                  <c:v>2651</c:v>
                </c:pt>
                <c:pt idx="2">
                  <c:v>2310</c:v>
                </c:pt>
                <c:pt idx="3">
                  <c:v>14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95-5B49-9695-7DEB01E94DD6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04</c:v>
                </c:pt>
                <c:pt idx="1">
                  <c:v>221</c:v>
                </c:pt>
                <c:pt idx="2">
                  <c:v>184</c:v>
                </c:pt>
                <c:pt idx="3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C95-5B49-9695-7DEB01E94DD6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57</c:v>
                </c:pt>
                <c:pt idx="1">
                  <c:v>1136</c:v>
                </c:pt>
                <c:pt idx="2">
                  <c:v>876</c:v>
                </c:pt>
                <c:pt idx="3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C95-5B49-9695-7DEB01E94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22769712"/>
        <c:axId val="1"/>
      </c:areaChart>
      <c:catAx>
        <c:axId val="20227697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66.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02276971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21023359288096E-2"/>
          <c:y val="3.8518518518518521E-2"/>
          <c:w val="0.94215795328142382"/>
          <c:h val="0.92296296296296299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9.6</c:v>
                </c:pt>
                <c:pt idx="1">
                  <c:v>37.200000000000003</c:v>
                </c:pt>
                <c:pt idx="2">
                  <c:v>14.3</c:v>
                </c:pt>
                <c:pt idx="3">
                  <c:v>1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88-0A4A-8266-2932639E85D9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545.91999999999996</c:v>
                </c:pt>
                <c:pt idx="1">
                  <c:v>532.95000000000005</c:v>
                </c:pt>
                <c:pt idx="2">
                  <c:v>559.96</c:v>
                </c:pt>
                <c:pt idx="3">
                  <c:v>544.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88-0A4A-8266-2932639E85D9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1.700000000000045</c:v>
                </c:pt>
                <c:pt idx="1">
                  <c:v>50.940000000000055</c:v>
                </c:pt>
                <c:pt idx="2">
                  <c:v>24.740000000000009</c:v>
                </c:pt>
                <c:pt idx="3">
                  <c:v>53.2000000000000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88-0A4A-8266-2932639E85D9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53.46000000000004</c:v>
                </c:pt>
                <c:pt idx="1">
                  <c:v>470.08999999999992</c:v>
                </c:pt>
                <c:pt idx="2">
                  <c:v>42.080000000000041</c:v>
                </c:pt>
                <c:pt idx="3">
                  <c:v>60.1899999999999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88-0A4A-8266-2932639E85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95210240"/>
        <c:axId val="1"/>
      </c:areaChart>
      <c:catAx>
        <c:axId val="1295210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91.1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9521024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378752886836026E-3"/>
          <c:y val="2.9697315819531698E-2"/>
          <c:w val="0.98152424942263283"/>
          <c:h val="0.9406053683609365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52.029731275014292</c:v>
                </c:pt>
                <c:pt idx="1">
                  <c:v>47.444996451383957</c:v>
                </c:pt>
                <c:pt idx="2">
                  <c:v>73.996943064577763</c:v>
                </c:pt>
                <c:pt idx="3">
                  <c:v>41.4</c:v>
                </c:pt>
                <c:pt idx="4">
                  <c:v>-2.2927689594356315</c:v>
                </c:pt>
                <c:pt idx="5">
                  <c:v>74.892703862660937</c:v>
                </c:pt>
                <c:pt idx="6">
                  <c:v>50.761200521966067</c:v>
                </c:pt>
                <c:pt idx="7">
                  <c:v>24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60C-514A-8FBC-26565956B39D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-1.3381995133819991</c:v>
                </c:pt>
                <c:pt idx="1">
                  <c:v>23.698959167333868</c:v>
                </c:pt>
                <c:pt idx="2">
                  <c:v>241.46005509641873</c:v>
                </c:pt>
                <c:pt idx="3">
                  <c:v>105</c:v>
                </c:pt>
                <c:pt idx="4">
                  <c:v>-3.3834586466165439</c:v>
                </c:pt>
                <c:pt idx="5">
                  <c:v>264.10256410256409</c:v>
                </c:pt>
                <c:pt idx="6">
                  <c:v>145.37815126050421</c:v>
                </c:pt>
                <c:pt idx="7">
                  <c:v>-11.2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60C-514A-8FBC-26565956B39D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122.05323193916348</c:v>
                </c:pt>
                <c:pt idx="1">
                  <c:v>157.45856353591159</c:v>
                </c:pt>
                <c:pt idx="2">
                  <c:v>91.489361702127667</c:v>
                </c:pt>
                <c:pt idx="3">
                  <c:v>40.400000000000006</c:v>
                </c:pt>
                <c:pt idx="4">
                  <c:v>44.444444444444443</c:v>
                </c:pt>
                <c:pt idx="5">
                  <c:v>75.396825396825392</c:v>
                </c:pt>
                <c:pt idx="6">
                  <c:v>25.170068027210888</c:v>
                </c:pt>
                <c:pt idx="7">
                  <c:v>97.399999999999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60C-514A-8FBC-26565956B39D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53.214543703346976</c:v>
                </c:pt>
                <c:pt idx="1">
                  <c:v>45.213654810217243</c:v>
                </c:pt>
                <c:pt idx="2">
                  <c:v>40.610328638497649</c:v>
                </c:pt>
                <c:pt idx="3">
                  <c:v>26.6</c:v>
                </c:pt>
                <c:pt idx="4">
                  <c:v>-6.9955817378497764</c:v>
                </c:pt>
                <c:pt idx="5">
                  <c:v>40.487546369899306</c:v>
                </c:pt>
                <c:pt idx="6">
                  <c:v>28.9782244556114</c:v>
                </c:pt>
                <c:pt idx="7">
                  <c:v>2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60C-514A-8FBC-26565956B3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23790416"/>
        <c:axId val="1"/>
      </c:lineChart>
      <c:catAx>
        <c:axId val="12237904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64.10256410256409"/>
          <c:min val="-11.200000000000001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237904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61061946902654E-2"/>
          <c:y val="3.8263428991905817E-2"/>
          <c:w val="0.94247787610619471"/>
          <c:h val="0.9234731420161883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82.5</c:v>
                </c:pt>
                <c:pt idx="1">
                  <c:v>289.10000000000002</c:v>
                </c:pt>
                <c:pt idx="2">
                  <c:v>65.099999999999994</c:v>
                </c:pt>
                <c:pt idx="3">
                  <c:v>6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3F-F642-9EBE-51B0F97D221B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808.33</c:v>
                </c:pt>
                <c:pt idx="1">
                  <c:v>1797.94</c:v>
                </c:pt>
                <c:pt idx="2">
                  <c:v>1930.48</c:v>
                </c:pt>
                <c:pt idx="3">
                  <c:v>1842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3F-F642-9EBE-51B0F97D221B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91.71000000000004</c:v>
                </c:pt>
                <c:pt idx="1">
                  <c:v>159.42999999999984</c:v>
                </c:pt>
                <c:pt idx="2">
                  <c:v>70.130000000000109</c:v>
                </c:pt>
                <c:pt idx="3">
                  <c:v>120.46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3F-F642-9EBE-51B0F97D221B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385.61000000000013</c:v>
                </c:pt>
                <c:pt idx="1">
                  <c:v>584.69000000000005</c:v>
                </c:pt>
                <c:pt idx="2">
                  <c:v>139.38999999999987</c:v>
                </c:pt>
                <c:pt idx="3">
                  <c:v>156.57000000000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F3F-F642-9EBE-51B0F97D22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19247648"/>
        <c:axId val="1"/>
      </c:areaChart>
      <c:catAx>
        <c:axId val="2019247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1.1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01924764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827222115569207E-3"/>
          <c:y val="3.4414295168762411E-2"/>
          <c:w val="0.98003455557688612"/>
          <c:h val="0.93117140966247514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41.534422306784748</c:v>
                </c:pt>
                <c:pt idx="1">
                  <c:v>44.741039338424081</c:v>
                </c:pt>
                <c:pt idx="2">
                  <c:v>49.461709087650107</c:v>
                </c:pt>
                <c:pt idx="3">
                  <c:v>29.93</c:v>
                </c:pt>
                <c:pt idx="4">
                  <c:v>-8.3749845463697348</c:v>
                </c:pt>
                <c:pt idx="5">
                  <c:v>52.623805496294992</c:v>
                </c:pt>
                <c:pt idx="6">
                  <c:v>45.985644670896455</c:v>
                </c:pt>
                <c:pt idx="7">
                  <c:v>30.86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B90-A74D-9D15-E010AE3D279F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24.59194776931448</c:v>
                </c:pt>
                <c:pt idx="1">
                  <c:v>30.385288966725057</c:v>
                </c:pt>
                <c:pt idx="2">
                  <c:v>103.22043309272627</c:v>
                </c:pt>
                <c:pt idx="3">
                  <c:v>46.85</c:v>
                </c:pt>
                <c:pt idx="4">
                  <c:v>-25.042881646655236</c:v>
                </c:pt>
                <c:pt idx="5">
                  <c:v>107.90754257907543</c:v>
                </c:pt>
                <c:pt idx="6">
                  <c:v>70.94017094017093</c:v>
                </c:pt>
                <c:pt idx="7">
                  <c:v>-8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90-A74D-9D15-E010AE3D279F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72.969543147208114</c:v>
                </c:pt>
                <c:pt idx="1">
                  <c:v>57.270693512304248</c:v>
                </c:pt>
                <c:pt idx="2">
                  <c:v>15.095729013254777</c:v>
                </c:pt>
                <c:pt idx="3">
                  <c:v>64.180000000000007</c:v>
                </c:pt>
                <c:pt idx="4">
                  <c:v>-31.36363636363636</c:v>
                </c:pt>
                <c:pt idx="5">
                  <c:v>33.3910034602076</c:v>
                </c:pt>
                <c:pt idx="6">
                  <c:v>69.382022471910119</c:v>
                </c:pt>
                <c:pt idx="7">
                  <c:v>50.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B90-A74D-9D15-E010AE3D279F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7.09446254071662</c:v>
                </c:pt>
                <c:pt idx="1">
                  <c:v>39.657135203910812</c:v>
                </c:pt>
                <c:pt idx="2">
                  <c:v>36.208427234856245</c:v>
                </c:pt>
                <c:pt idx="3">
                  <c:v>29.93</c:v>
                </c:pt>
                <c:pt idx="4">
                  <c:v>-9.2110966623320305</c:v>
                </c:pt>
                <c:pt idx="5">
                  <c:v>36.692307692307693</c:v>
                </c:pt>
                <c:pt idx="6">
                  <c:v>31.783205085312805</c:v>
                </c:pt>
                <c:pt idx="7">
                  <c:v>26.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B90-A74D-9D15-E010AE3D2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3187071"/>
        <c:axId val="1"/>
      </c:lineChart>
      <c:catAx>
        <c:axId val="631870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07.90754257907543"/>
          <c:min val="-31.36363636363636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31870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4143138542350626E-2"/>
          <c:w val="0.9385342789598109"/>
          <c:h val="0.9317137229152987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7175</c:v>
                </c:pt>
                <c:pt idx="1">
                  <c:v>17752</c:v>
                </c:pt>
                <c:pt idx="2">
                  <c:v>17140</c:v>
                </c:pt>
                <c:pt idx="3">
                  <c:v>10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A-3A49-ABE3-5F65C3CCAB3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7977</c:v>
                </c:pt>
                <c:pt idx="1">
                  <c:v>8310</c:v>
                </c:pt>
                <c:pt idx="2">
                  <c:v>9107</c:v>
                </c:pt>
                <c:pt idx="3">
                  <c:v>5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CA-3A49-ABE3-5F65C3CCAB3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416</c:v>
                </c:pt>
                <c:pt idx="1">
                  <c:v>472</c:v>
                </c:pt>
                <c:pt idx="2">
                  <c:v>459</c:v>
                </c:pt>
                <c:pt idx="3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CA-3A49-ABE3-5F65C3CCAB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23148640"/>
        <c:axId val="1"/>
      </c:areaChart>
      <c:catAx>
        <c:axId val="20231486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02314864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882280809319437E-2"/>
          <c:y val="3.7463976945244955E-2"/>
          <c:w val="0.9362354383813611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441</c:v>
                </c:pt>
                <c:pt idx="1">
                  <c:v>7802</c:v>
                </c:pt>
                <c:pt idx="2">
                  <c:v>6855</c:v>
                </c:pt>
                <c:pt idx="3">
                  <c:v>3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5F-B544-9508-7AD6EE9B84D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662</c:v>
                </c:pt>
                <c:pt idx="1">
                  <c:v>4075</c:v>
                </c:pt>
                <c:pt idx="2">
                  <c:v>3466</c:v>
                </c:pt>
                <c:pt idx="3">
                  <c:v>1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5F-B544-9508-7AD6EE9B84D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9</c:v>
                </c:pt>
                <c:pt idx="1">
                  <c:v>223</c:v>
                </c:pt>
                <c:pt idx="2">
                  <c:v>199</c:v>
                </c:pt>
                <c:pt idx="3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5F-B544-9508-7AD6EE9B84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24655392"/>
        <c:axId val="1"/>
      </c:areaChart>
      <c:catAx>
        <c:axId val="1224655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2465539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557.51</c:v>
                </c:pt>
                <c:pt idx="1">
                  <c:v>1696.83</c:v>
                </c:pt>
                <c:pt idx="2">
                  <c:v>1518.24</c:v>
                </c:pt>
                <c:pt idx="3">
                  <c:v>1467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E8-DF42-8515-72E5EFE916B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62.12000000000012</c:v>
                </c:pt>
                <c:pt idx="1">
                  <c:v>1092.94</c:v>
                </c:pt>
                <c:pt idx="2">
                  <c:v>643.62000000000012</c:v>
                </c:pt>
                <c:pt idx="3">
                  <c:v>671.0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E8-DF42-8515-72E5EFE916B9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.110000000000127</c:v>
                </c:pt>
                <c:pt idx="1">
                  <c:v>43.829999999999927</c:v>
                </c:pt>
                <c:pt idx="2">
                  <c:v>45.909999999999854</c:v>
                </c:pt>
                <c:pt idx="3">
                  <c:v>48.380000000000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E8-DF42-8515-72E5EFE916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34249248"/>
        <c:axId val="1"/>
      </c:areaChart>
      <c:catAx>
        <c:axId val="1934249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3.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93424924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634247089748404E-3"/>
          <c:y val="3.4505640345056404E-2"/>
          <c:w val="0.98047315058205031"/>
          <c:h val="0.9309887193098872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7.777777777777771</c:v>
                </c:pt>
                <c:pt idx="1">
                  <c:v>81.538461538461533</c:v>
                </c:pt>
                <c:pt idx="2">
                  <c:v>66.304347826086968</c:v>
                </c:pt>
                <c:pt idx="3">
                  <c:v>76.5</c:v>
                </c:pt>
                <c:pt idx="4">
                  <c:v>-3.2608695652173947</c:v>
                </c:pt>
                <c:pt idx="5">
                  <c:v>76.984126984126974</c:v>
                </c:pt>
                <c:pt idx="6">
                  <c:v>74.561403508771946</c:v>
                </c:pt>
                <c:pt idx="7">
                  <c:v>78.9000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CB-A94B-A7F8-987DDBB679D0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52.029731275014292</c:v>
                </c:pt>
                <c:pt idx="1">
                  <c:v>47.444996451383957</c:v>
                </c:pt>
                <c:pt idx="2">
                  <c:v>73.996943064577763</c:v>
                </c:pt>
                <c:pt idx="3">
                  <c:v>41.4</c:v>
                </c:pt>
                <c:pt idx="4">
                  <c:v>-2.2927689594356315</c:v>
                </c:pt>
                <c:pt idx="5">
                  <c:v>74.892703862660937</c:v>
                </c:pt>
                <c:pt idx="6">
                  <c:v>50.761200521966067</c:v>
                </c:pt>
                <c:pt idx="7">
                  <c:v>24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CB-A94B-A7F8-987DDBB679D0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6.50453028135432</c:v>
                </c:pt>
                <c:pt idx="1">
                  <c:v>42.896240843596559</c:v>
                </c:pt>
                <c:pt idx="2">
                  <c:v>38.729259409146088</c:v>
                </c:pt>
                <c:pt idx="3">
                  <c:v>39.1</c:v>
                </c:pt>
                <c:pt idx="4">
                  <c:v>-11.177077955601444</c:v>
                </c:pt>
                <c:pt idx="5">
                  <c:v>42.632541133455206</c:v>
                </c:pt>
                <c:pt idx="6">
                  <c:v>42.991239048811011</c:v>
                </c:pt>
                <c:pt idx="7">
                  <c:v>32.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FCB-A94B-A7F8-987DDBB679D0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41.549022864418973</c:v>
                </c:pt>
                <c:pt idx="1">
                  <c:v>44.844150881598345</c:v>
                </c:pt>
                <c:pt idx="2">
                  <c:v>49.487825356842997</c:v>
                </c:pt>
                <c:pt idx="3">
                  <c:v>40.300000000000004</c:v>
                </c:pt>
                <c:pt idx="4">
                  <c:v>-8.3818598905946669</c:v>
                </c:pt>
                <c:pt idx="5">
                  <c:v>52.662124653040635</c:v>
                </c:pt>
                <c:pt idx="6">
                  <c:v>45.969196614402662</c:v>
                </c:pt>
                <c:pt idx="7">
                  <c:v>3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FCB-A94B-A7F8-987DDBB679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3491312"/>
        <c:axId val="1"/>
      </c:lineChart>
      <c:catAx>
        <c:axId val="8334913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1.538461538461533"/>
          <c:min val="-11.177077955601444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8334913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76657F-7A29-DA46-BDF7-DBA4BD24A48B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A3B7E9-AA5B-564D-B531-1DFCA2A5AA0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59055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73044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低频收入结构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706826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54F44A-5DA8-7CE9-596E-94889B1B25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F25A0F7-94D2-7728-31FF-01963F6207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6422DDA-DECD-1454-E1F3-361A3D9DA3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总收入：直营｜渠道｜电销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677A992-3FB0-F295-C286-07D0B89C31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264759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E3F595-E3E2-82F9-C043-DE430A583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76ACF777-8169-0479-5861-FDFB58D17E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BDC13B9-7060-5E73-A548-D78F48833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医疗总收入：直营｜渠道｜电销；</a:t>
            </a:r>
            <a:endParaRPr kumimoji="1"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A406E10-AC5C-83C0-1777-B51CF88821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337864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dirty="0"/>
              <a:t>教培总收入：直营｜渠道｜电销</a:t>
            </a:r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064109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医疗*收入类型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475337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7FAC7F-15F8-2A09-E72B-4C5EF85A9F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0570F29-82AD-A799-90D6-61E1AB08F4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64A5E8D-0505-FE3E-B768-95D8FE1B08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教培*收入类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B07E4A5-52D9-1364-0704-767A88AC59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173974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7801B-460F-0046-CE4C-B7FE1830BD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1E06490-75E3-BF88-0928-DC8B5272BF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1C39E54-A1CE-BB21-6149-2CF354328E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直营</a:t>
            </a:r>
            <a:r>
              <a:rPr kumimoji="1" lang="en-US" altLang="zh-CN" dirty="0"/>
              <a:t>by</a:t>
            </a:r>
            <a:r>
              <a:rPr kumimoji="1" lang="zh-CN" altLang="en-US" dirty="0"/>
              <a:t>收入类型</a:t>
            </a:r>
            <a:endParaRPr kumimoji="1"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F9B9F0-B35A-38EB-C95C-3D8C9B8A9E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5795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CAE6BC-611D-F048-61F9-7D7CF33F21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2A167D78-42AD-1551-3B56-A48D1940A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149B1294-041D-AFAB-0E83-8F5DCC651D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渠道</a:t>
            </a:r>
            <a:r>
              <a:rPr kumimoji="1" lang="en-US" altLang="zh-CN" dirty="0"/>
              <a:t>by</a:t>
            </a:r>
            <a:r>
              <a:rPr kumimoji="1" lang="zh-CN" altLang="en-US" dirty="0"/>
              <a:t>收入类型</a:t>
            </a:r>
            <a:endParaRPr kumimoji="1"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AA29481-620C-19A5-9488-16639FFDDC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19731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064766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882205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83611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883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59025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092423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53727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505873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6198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99513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854603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2227F87-6BB9-B51F-86FB-120AF5D46370}"/>
              </a:ext>
            </a:extLst>
          </p:cNvPr>
          <p:cNvGraphicFramePr>
            <a:graphicFrameLocks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64802596"/>
              </p:ext>
            </p:extLst>
          </p:nvPr>
        </p:nvGraphicFramePr>
        <p:xfrm>
          <a:off x="1590" y="1589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7772400" imgH="10058400" progId="TCLayout.ActiveDocument.1">
                  <p:embed/>
                </p:oleObj>
              </mc:Choice>
              <mc:Fallback>
                <p:oleObj name="think-cell 幻灯片" r:id="rId1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E842FB-1F1C-26CD-40B1-22A4A6613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06208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oleObject" Target="../embeddings/oleObject2.bin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image" Target="../media/image3.emf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10.xml"/><Relationship Id="rId51" Type="http://schemas.openxmlformats.org/officeDocument/2006/relationships/image" Target="../media/image2.emf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66.xml"/><Relationship Id="rId21" Type="http://schemas.openxmlformats.org/officeDocument/2006/relationships/tags" Target="../tags/tag70.xml"/><Relationship Id="rId42" Type="http://schemas.openxmlformats.org/officeDocument/2006/relationships/tags" Target="../tags/tag91.xml"/><Relationship Id="rId63" Type="http://schemas.openxmlformats.org/officeDocument/2006/relationships/tags" Target="../tags/tag112.xml"/><Relationship Id="rId84" Type="http://schemas.openxmlformats.org/officeDocument/2006/relationships/tags" Target="../tags/tag133.xml"/><Relationship Id="rId138" Type="http://schemas.openxmlformats.org/officeDocument/2006/relationships/chart" Target="../charts/chart3.xml"/><Relationship Id="rId16" Type="http://schemas.openxmlformats.org/officeDocument/2006/relationships/tags" Target="../tags/tag65.xml"/><Relationship Id="rId107" Type="http://schemas.openxmlformats.org/officeDocument/2006/relationships/tags" Target="../tags/tag156.xml"/><Relationship Id="rId11" Type="http://schemas.openxmlformats.org/officeDocument/2006/relationships/tags" Target="../tags/tag60.xml"/><Relationship Id="rId32" Type="http://schemas.openxmlformats.org/officeDocument/2006/relationships/tags" Target="../tags/tag81.xml"/><Relationship Id="rId37" Type="http://schemas.openxmlformats.org/officeDocument/2006/relationships/tags" Target="../tags/tag86.xml"/><Relationship Id="rId53" Type="http://schemas.openxmlformats.org/officeDocument/2006/relationships/tags" Target="../tags/tag102.xml"/><Relationship Id="rId58" Type="http://schemas.openxmlformats.org/officeDocument/2006/relationships/tags" Target="../tags/tag107.xml"/><Relationship Id="rId74" Type="http://schemas.openxmlformats.org/officeDocument/2006/relationships/tags" Target="../tags/tag123.xml"/><Relationship Id="rId79" Type="http://schemas.openxmlformats.org/officeDocument/2006/relationships/tags" Target="../tags/tag128.xml"/><Relationship Id="rId102" Type="http://schemas.openxmlformats.org/officeDocument/2006/relationships/tags" Target="../tags/tag151.xml"/><Relationship Id="rId123" Type="http://schemas.openxmlformats.org/officeDocument/2006/relationships/tags" Target="../tags/tag172.xml"/><Relationship Id="rId128" Type="http://schemas.openxmlformats.org/officeDocument/2006/relationships/tags" Target="../tags/tag177.xml"/><Relationship Id="rId5" Type="http://schemas.openxmlformats.org/officeDocument/2006/relationships/tags" Target="../tags/tag54.xml"/><Relationship Id="rId90" Type="http://schemas.openxmlformats.org/officeDocument/2006/relationships/tags" Target="../tags/tag139.xml"/><Relationship Id="rId95" Type="http://schemas.openxmlformats.org/officeDocument/2006/relationships/tags" Target="../tags/tag144.xml"/><Relationship Id="rId22" Type="http://schemas.openxmlformats.org/officeDocument/2006/relationships/tags" Target="../tags/tag71.xml"/><Relationship Id="rId27" Type="http://schemas.openxmlformats.org/officeDocument/2006/relationships/tags" Target="../tags/tag76.xml"/><Relationship Id="rId43" Type="http://schemas.openxmlformats.org/officeDocument/2006/relationships/tags" Target="../tags/tag92.xml"/><Relationship Id="rId48" Type="http://schemas.openxmlformats.org/officeDocument/2006/relationships/tags" Target="../tags/tag97.xml"/><Relationship Id="rId64" Type="http://schemas.openxmlformats.org/officeDocument/2006/relationships/tags" Target="../tags/tag113.xml"/><Relationship Id="rId69" Type="http://schemas.openxmlformats.org/officeDocument/2006/relationships/tags" Target="../tags/tag118.xml"/><Relationship Id="rId113" Type="http://schemas.openxmlformats.org/officeDocument/2006/relationships/tags" Target="../tags/tag162.xml"/><Relationship Id="rId118" Type="http://schemas.openxmlformats.org/officeDocument/2006/relationships/tags" Target="../tags/tag167.xml"/><Relationship Id="rId134" Type="http://schemas.openxmlformats.org/officeDocument/2006/relationships/notesSlide" Target="../notesSlides/notesSlide2.xml"/><Relationship Id="rId139" Type="http://schemas.openxmlformats.org/officeDocument/2006/relationships/chart" Target="../charts/chart4.xml"/><Relationship Id="rId80" Type="http://schemas.openxmlformats.org/officeDocument/2006/relationships/tags" Target="../tags/tag129.xml"/><Relationship Id="rId85" Type="http://schemas.openxmlformats.org/officeDocument/2006/relationships/tags" Target="../tags/tag134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33" Type="http://schemas.openxmlformats.org/officeDocument/2006/relationships/tags" Target="../tags/tag82.xml"/><Relationship Id="rId38" Type="http://schemas.openxmlformats.org/officeDocument/2006/relationships/tags" Target="../tags/tag87.xml"/><Relationship Id="rId59" Type="http://schemas.openxmlformats.org/officeDocument/2006/relationships/tags" Target="../tags/tag108.xml"/><Relationship Id="rId103" Type="http://schemas.openxmlformats.org/officeDocument/2006/relationships/tags" Target="../tags/tag152.xml"/><Relationship Id="rId108" Type="http://schemas.openxmlformats.org/officeDocument/2006/relationships/tags" Target="../tags/tag157.xml"/><Relationship Id="rId124" Type="http://schemas.openxmlformats.org/officeDocument/2006/relationships/tags" Target="../tags/tag173.xml"/><Relationship Id="rId129" Type="http://schemas.openxmlformats.org/officeDocument/2006/relationships/tags" Target="../tags/tag178.xml"/><Relationship Id="rId54" Type="http://schemas.openxmlformats.org/officeDocument/2006/relationships/tags" Target="../tags/tag103.xml"/><Relationship Id="rId70" Type="http://schemas.openxmlformats.org/officeDocument/2006/relationships/tags" Target="../tags/tag119.xml"/><Relationship Id="rId75" Type="http://schemas.openxmlformats.org/officeDocument/2006/relationships/tags" Target="../tags/tag124.xml"/><Relationship Id="rId91" Type="http://schemas.openxmlformats.org/officeDocument/2006/relationships/tags" Target="../tags/tag140.xml"/><Relationship Id="rId96" Type="http://schemas.openxmlformats.org/officeDocument/2006/relationships/tags" Target="../tags/tag145.xml"/><Relationship Id="rId140" Type="http://schemas.openxmlformats.org/officeDocument/2006/relationships/chart" Target="../charts/chart5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23" Type="http://schemas.openxmlformats.org/officeDocument/2006/relationships/tags" Target="../tags/tag72.xml"/><Relationship Id="rId28" Type="http://schemas.openxmlformats.org/officeDocument/2006/relationships/tags" Target="../tags/tag77.xml"/><Relationship Id="rId49" Type="http://schemas.openxmlformats.org/officeDocument/2006/relationships/tags" Target="../tags/tag98.xml"/><Relationship Id="rId114" Type="http://schemas.openxmlformats.org/officeDocument/2006/relationships/tags" Target="../tags/tag163.xml"/><Relationship Id="rId119" Type="http://schemas.openxmlformats.org/officeDocument/2006/relationships/tags" Target="../tags/tag168.xml"/><Relationship Id="rId44" Type="http://schemas.openxmlformats.org/officeDocument/2006/relationships/tags" Target="../tags/tag93.xml"/><Relationship Id="rId60" Type="http://schemas.openxmlformats.org/officeDocument/2006/relationships/tags" Target="../tags/tag109.xml"/><Relationship Id="rId65" Type="http://schemas.openxmlformats.org/officeDocument/2006/relationships/tags" Target="../tags/tag114.xml"/><Relationship Id="rId81" Type="http://schemas.openxmlformats.org/officeDocument/2006/relationships/tags" Target="../tags/tag130.xml"/><Relationship Id="rId86" Type="http://schemas.openxmlformats.org/officeDocument/2006/relationships/tags" Target="../tags/tag135.xml"/><Relationship Id="rId130" Type="http://schemas.openxmlformats.org/officeDocument/2006/relationships/tags" Target="../tags/tag179.xml"/><Relationship Id="rId135" Type="http://schemas.openxmlformats.org/officeDocument/2006/relationships/oleObject" Target="../embeddings/oleObject3.bin"/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39" Type="http://schemas.openxmlformats.org/officeDocument/2006/relationships/tags" Target="../tags/tag88.xml"/><Relationship Id="rId109" Type="http://schemas.openxmlformats.org/officeDocument/2006/relationships/tags" Target="../tags/tag158.xml"/><Relationship Id="rId34" Type="http://schemas.openxmlformats.org/officeDocument/2006/relationships/tags" Target="../tags/tag83.xml"/><Relationship Id="rId50" Type="http://schemas.openxmlformats.org/officeDocument/2006/relationships/tags" Target="../tags/tag99.xml"/><Relationship Id="rId55" Type="http://schemas.openxmlformats.org/officeDocument/2006/relationships/tags" Target="../tags/tag104.xml"/><Relationship Id="rId76" Type="http://schemas.openxmlformats.org/officeDocument/2006/relationships/tags" Target="../tags/tag125.xml"/><Relationship Id="rId97" Type="http://schemas.openxmlformats.org/officeDocument/2006/relationships/tags" Target="../tags/tag146.xml"/><Relationship Id="rId104" Type="http://schemas.openxmlformats.org/officeDocument/2006/relationships/tags" Target="../tags/tag153.xml"/><Relationship Id="rId120" Type="http://schemas.openxmlformats.org/officeDocument/2006/relationships/tags" Target="../tags/tag169.xml"/><Relationship Id="rId125" Type="http://schemas.openxmlformats.org/officeDocument/2006/relationships/tags" Target="../tags/tag174.xml"/><Relationship Id="rId7" Type="http://schemas.openxmlformats.org/officeDocument/2006/relationships/tags" Target="../tags/tag56.xml"/><Relationship Id="rId71" Type="http://schemas.openxmlformats.org/officeDocument/2006/relationships/tags" Target="../tags/tag120.xml"/><Relationship Id="rId92" Type="http://schemas.openxmlformats.org/officeDocument/2006/relationships/tags" Target="../tags/tag141.xml"/><Relationship Id="rId2" Type="http://schemas.openxmlformats.org/officeDocument/2006/relationships/tags" Target="../tags/tag51.xml"/><Relationship Id="rId29" Type="http://schemas.openxmlformats.org/officeDocument/2006/relationships/tags" Target="../tags/tag78.xml"/><Relationship Id="rId24" Type="http://schemas.openxmlformats.org/officeDocument/2006/relationships/tags" Target="../tags/tag73.xml"/><Relationship Id="rId40" Type="http://schemas.openxmlformats.org/officeDocument/2006/relationships/tags" Target="../tags/tag89.xml"/><Relationship Id="rId45" Type="http://schemas.openxmlformats.org/officeDocument/2006/relationships/tags" Target="../tags/tag94.xml"/><Relationship Id="rId66" Type="http://schemas.openxmlformats.org/officeDocument/2006/relationships/tags" Target="../tags/tag115.xml"/><Relationship Id="rId87" Type="http://schemas.openxmlformats.org/officeDocument/2006/relationships/tags" Target="../tags/tag136.xml"/><Relationship Id="rId110" Type="http://schemas.openxmlformats.org/officeDocument/2006/relationships/tags" Target="../tags/tag159.xml"/><Relationship Id="rId115" Type="http://schemas.openxmlformats.org/officeDocument/2006/relationships/tags" Target="../tags/tag164.xml"/><Relationship Id="rId131" Type="http://schemas.openxmlformats.org/officeDocument/2006/relationships/tags" Target="../tags/tag180.xml"/><Relationship Id="rId136" Type="http://schemas.openxmlformats.org/officeDocument/2006/relationships/image" Target="../media/image2.emf"/><Relationship Id="rId61" Type="http://schemas.openxmlformats.org/officeDocument/2006/relationships/tags" Target="../tags/tag110.xml"/><Relationship Id="rId82" Type="http://schemas.openxmlformats.org/officeDocument/2006/relationships/tags" Target="../tags/tag131.xml"/><Relationship Id="rId19" Type="http://schemas.openxmlformats.org/officeDocument/2006/relationships/tags" Target="../tags/tag68.xml"/><Relationship Id="rId14" Type="http://schemas.openxmlformats.org/officeDocument/2006/relationships/tags" Target="../tags/tag63.xml"/><Relationship Id="rId30" Type="http://schemas.openxmlformats.org/officeDocument/2006/relationships/tags" Target="../tags/tag79.xml"/><Relationship Id="rId35" Type="http://schemas.openxmlformats.org/officeDocument/2006/relationships/tags" Target="../tags/tag84.xml"/><Relationship Id="rId56" Type="http://schemas.openxmlformats.org/officeDocument/2006/relationships/tags" Target="../tags/tag105.xml"/><Relationship Id="rId77" Type="http://schemas.openxmlformats.org/officeDocument/2006/relationships/tags" Target="../tags/tag126.xml"/><Relationship Id="rId100" Type="http://schemas.openxmlformats.org/officeDocument/2006/relationships/tags" Target="../tags/tag149.xml"/><Relationship Id="rId105" Type="http://schemas.openxmlformats.org/officeDocument/2006/relationships/tags" Target="../tags/tag154.xml"/><Relationship Id="rId126" Type="http://schemas.openxmlformats.org/officeDocument/2006/relationships/tags" Target="../tags/tag175.xml"/><Relationship Id="rId8" Type="http://schemas.openxmlformats.org/officeDocument/2006/relationships/tags" Target="../tags/tag57.xml"/><Relationship Id="rId51" Type="http://schemas.openxmlformats.org/officeDocument/2006/relationships/tags" Target="../tags/tag100.xml"/><Relationship Id="rId72" Type="http://schemas.openxmlformats.org/officeDocument/2006/relationships/tags" Target="../tags/tag121.xml"/><Relationship Id="rId93" Type="http://schemas.openxmlformats.org/officeDocument/2006/relationships/tags" Target="../tags/tag142.xml"/><Relationship Id="rId98" Type="http://schemas.openxmlformats.org/officeDocument/2006/relationships/tags" Target="../tags/tag147.xml"/><Relationship Id="rId121" Type="http://schemas.openxmlformats.org/officeDocument/2006/relationships/tags" Target="../tags/tag170.xml"/><Relationship Id="rId3" Type="http://schemas.openxmlformats.org/officeDocument/2006/relationships/tags" Target="../tags/tag52.xml"/><Relationship Id="rId25" Type="http://schemas.openxmlformats.org/officeDocument/2006/relationships/tags" Target="../tags/tag74.xml"/><Relationship Id="rId46" Type="http://schemas.openxmlformats.org/officeDocument/2006/relationships/tags" Target="../tags/tag95.xml"/><Relationship Id="rId67" Type="http://schemas.openxmlformats.org/officeDocument/2006/relationships/tags" Target="../tags/tag116.xml"/><Relationship Id="rId116" Type="http://schemas.openxmlformats.org/officeDocument/2006/relationships/tags" Target="../tags/tag165.xml"/><Relationship Id="rId137" Type="http://schemas.openxmlformats.org/officeDocument/2006/relationships/chart" Target="../charts/chart2.xml"/><Relationship Id="rId20" Type="http://schemas.openxmlformats.org/officeDocument/2006/relationships/tags" Target="../tags/tag69.xml"/><Relationship Id="rId41" Type="http://schemas.openxmlformats.org/officeDocument/2006/relationships/tags" Target="../tags/tag90.xml"/><Relationship Id="rId62" Type="http://schemas.openxmlformats.org/officeDocument/2006/relationships/tags" Target="../tags/tag111.xml"/><Relationship Id="rId83" Type="http://schemas.openxmlformats.org/officeDocument/2006/relationships/tags" Target="../tags/tag132.xml"/><Relationship Id="rId88" Type="http://schemas.openxmlformats.org/officeDocument/2006/relationships/tags" Target="../tags/tag137.xml"/><Relationship Id="rId111" Type="http://schemas.openxmlformats.org/officeDocument/2006/relationships/tags" Target="../tags/tag160.xml"/><Relationship Id="rId132" Type="http://schemas.openxmlformats.org/officeDocument/2006/relationships/tags" Target="../tags/tag181.xml"/><Relationship Id="rId15" Type="http://schemas.openxmlformats.org/officeDocument/2006/relationships/tags" Target="../tags/tag64.xml"/><Relationship Id="rId36" Type="http://schemas.openxmlformats.org/officeDocument/2006/relationships/tags" Target="../tags/tag85.xml"/><Relationship Id="rId57" Type="http://schemas.openxmlformats.org/officeDocument/2006/relationships/tags" Target="../tags/tag106.xml"/><Relationship Id="rId106" Type="http://schemas.openxmlformats.org/officeDocument/2006/relationships/tags" Target="../tags/tag155.xml"/><Relationship Id="rId127" Type="http://schemas.openxmlformats.org/officeDocument/2006/relationships/tags" Target="../tags/tag176.xml"/><Relationship Id="rId10" Type="http://schemas.openxmlformats.org/officeDocument/2006/relationships/tags" Target="../tags/tag59.xml"/><Relationship Id="rId31" Type="http://schemas.openxmlformats.org/officeDocument/2006/relationships/tags" Target="../tags/tag80.xml"/><Relationship Id="rId52" Type="http://schemas.openxmlformats.org/officeDocument/2006/relationships/tags" Target="../tags/tag101.xml"/><Relationship Id="rId73" Type="http://schemas.openxmlformats.org/officeDocument/2006/relationships/tags" Target="../tags/tag122.xml"/><Relationship Id="rId78" Type="http://schemas.openxmlformats.org/officeDocument/2006/relationships/tags" Target="../tags/tag127.xml"/><Relationship Id="rId94" Type="http://schemas.openxmlformats.org/officeDocument/2006/relationships/tags" Target="../tags/tag143.xml"/><Relationship Id="rId99" Type="http://schemas.openxmlformats.org/officeDocument/2006/relationships/tags" Target="../tags/tag148.xml"/><Relationship Id="rId101" Type="http://schemas.openxmlformats.org/officeDocument/2006/relationships/tags" Target="../tags/tag150.xml"/><Relationship Id="rId122" Type="http://schemas.openxmlformats.org/officeDocument/2006/relationships/tags" Target="../tags/tag171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26" Type="http://schemas.openxmlformats.org/officeDocument/2006/relationships/tags" Target="../tags/tag75.xml"/><Relationship Id="rId47" Type="http://schemas.openxmlformats.org/officeDocument/2006/relationships/tags" Target="../tags/tag96.xml"/><Relationship Id="rId68" Type="http://schemas.openxmlformats.org/officeDocument/2006/relationships/tags" Target="../tags/tag117.xml"/><Relationship Id="rId89" Type="http://schemas.openxmlformats.org/officeDocument/2006/relationships/tags" Target="../tags/tag138.xml"/><Relationship Id="rId112" Type="http://schemas.openxmlformats.org/officeDocument/2006/relationships/tags" Target="../tags/tag161.xml"/><Relationship Id="rId133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07.xml"/><Relationship Id="rId117" Type="http://schemas.openxmlformats.org/officeDocument/2006/relationships/tags" Target="../tags/tag298.xml"/><Relationship Id="rId21" Type="http://schemas.openxmlformats.org/officeDocument/2006/relationships/tags" Target="../tags/tag202.xml"/><Relationship Id="rId42" Type="http://schemas.openxmlformats.org/officeDocument/2006/relationships/tags" Target="../tags/tag223.xml"/><Relationship Id="rId47" Type="http://schemas.openxmlformats.org/officeDocument/2006/relationships/tags" Target="../tags/tag228.xml"/><Relationship Id="rId63" Type="http://schemas.openxmlformats.org/officeDocument/2006/relationships/tags" Target="../tags/tag244.xml"/><Relationship Id="rId68" Type="http://schemas.openxmlformats.org/officeDocument/2006/relationships/tags" Target="../tags/tag249.xml"/><Relationship Id="rId84" Type="http://schemas.openxmlformats.org/officeDocument/2006/relationships/tags" Target="../tags/tag265.xml"/><Relationship Id="rId89" Type="http://schemas.openxmlformats.org/officeDocument/2006/relationships/tags" Target="../tags/tag270.xml"/><Relationship Id="rId112" Type="http://schemas.openxmlformats.org/officeDocument/2006/relationships/tags" Target="../tags/tag293.xml"/><Relationship Id="rId16" Type="http://schemas.openxmlformats.org/officeDocument/2006/relationships/tags" Target="../tags/tag197.xml"/><Relationship Id="rId107" Type="http://schemas.openxmlformats.org/officeDocument/2006/relationships/tags" Target="../tags/tag288.xml"/><Relationship Id="rId11" Type="http://schemas.openxmlformats.org/officeDocument/2006/relationships/tags" Target="../tags/tag192.xml"/><Relationship Id="rId32" Type="http://schemas.openxmlformats.org/officeDocument/2006/relationships/tags" Target="../tags/tag213.xml"/><Relationship Id="rId37" Type="http://schemas.openxmlformats.org/officeDocument/2006/relationships/tags" Target="../tags/tag218.xml"/><Relationship Id="rId53" Type="http://schemas.openxmlformats.org/officeDocument/2006/relationships/tags" Target="../tags/tag234.xml"/><Relationship Id="rId58" Type="http://schemas.openxmlformats.org/officeDocument/2006/relationships/tags" Target="../tags/tag239.xml"/><Relationship Id="rId74" Type="http://schemas.openxmlformats.org/officeDocument/2006/relationships/tags" Target="../tags/tag255.xml"/><Relationship Id="rId79" Type="http://schemas.openxmlformats.org/officeDocument/2006/relationships/tags" Target="../tags/tag260.xml"/><Relationship Id="rId102" Type="http://schemas.openxmlformats.org/officeDocument/2006/relationships/tags" Target="../tags/tag283.xml"/><Relationship Id="rId123" Type="http://schemas.openxmlformats.org/officeDocument/2006/relationships/image" Target="../media/image2.emf"/><Relationship Id="rId5" Type="http://schemas.openxmlformats.org/officeDocument/2006/relationships/tags" Target="../tags/tag186.xml"/><Relationship Id="rId90" Type="http://schemas.openxmlformats.org/officeDocument/2006/relationships/tags" Target="../tags/tag271.xml"/><Relationship Id="rId95" Type="http://schemas.openxmlformats.org/officeDocument/2006/relationships/tags" Target="../tags/tag276.xml"/><Relationship Id="rId22" Type="http://schemas.openxmlformats.org/officeDocument/2006/relationships/tags" Target="../tags/tag203.xml"/><Relationship Id="rId27" Type="http://schemas.openxmlformats.org/officeDocument/2006/relationships/tags" Target="../tags/tag208.xml"/><Relationship Id="rId43" Type="http://schemas.openxmlformats.org/officeDocument/2006/relationships/tags" Target="../tags/tag224.xml"/><Relationship Id="rId48" Type="http://schemas.openxmlformats.org/officeDocument/2006/relationships/tags" Target="../tags/tag229.xml"/><Relationship Id="rId64" Type="http://schemas.openxmlformats.org/officeDocument/2006/relationships/tags" Target="../tags/tag245.xml"/><Relationship Id="rId69" Type="http://schemas.openxmlformats.org/officeDocument/2006/relationships/tags" Target="../tags/tag250.xml"/><Relationship Id="rId113" Type="http://schemas.openxmlformats.org/officeDocument/2006/relationships/tags" Target="../tags/tag294.xml"/><Relationship Id="rId118" Type="http://schemas.openxmlformats.org/officeDocument/2006/relationships/tags" Target="../tags/tag299.xml"/><Relationship Id="rId80" Type="http://schemas.openxmlformats.org/officeDocument/2006/relationships/tags" Target="../tags/tag261.xml"/><Relationship Id="rId85" Type="http://schemas.openxmlformats.org/officeDocument/2006/relationships/tags" Target="../tags/tag266.xml"/><Relationship Id="rId12" Type="http://schemas.openxmlformats.org/officeDocument/2006/relationships/tags" Target="../tags/tag193.xml"/><Relationship Id="rId17" Type="http://schemas.openxmlformats.org/officeDocument/2006/relationships/tags" Target="../tags/tag198.xml"/><Relationship Id="rId33" Type="http://schemas.openxmlformats.org/officeDocument/2006/relationships/tags" Target="../tags/tag214.xml"/><Relationship Id="rId38" Type="http://schemas.openxmlformats.org/officeDocument/2006/relationships/tags" Target="../tags/tag219.xml"/><Relationship Id="rId59" Type="http://schemas.openxmlformats.org/officeDocument/2006/relationships/tags" Target="../tags/tag240.xml"/><Relationship Id="rId103" Type="http://schemas.openxmlformats.org/officeDocument/2006/relationships/tags" Target="../tags/tag284.xml"/><Relationship Id="rId108" Type="http://schemas.openxmlformats.org/officeDocument/2006/relationships/tags" Target="../tags/tag289.xml"/><Relationship Id="rId124" Type="http://schemas.openxmlformats.org/officeDocument/2006/relationships/chart" Target="../charts/chart6.xml"/><Relationship Id="rId54" Type="http://schemas.openxmlformats.org/officeDocument/2006/relationships/tags" Target="../tags/tag235.xml"/><Relationship Id="rId70" Type="http://schemas.openxmlformats.org/officeDocument/2006/relationships/tags" Target="../tags/tag251.xml"/><Relationship Id="rId75" Type="http://schemas.openxmlformats.org/officeDocument/2006/relationships/tags" Target="../tags/tag256.xml"/><Relationship Id="rId91" Type="http://schemas.openxmlformats.org/officeDocument/2006/relationships/tags" Target="../tags/tag272.xml"/><Relationship Id="rId96" Type="http://schemas.openxmlformats.org/officeDocument/2006/relationships/tags" Target="../tags/tag277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23" Type="http://schemas.openxmlformats.org/officeDocument/2006/relationships/tags" Target="../tags/tag204.xml"/><Relationship Id="rId28" Type="http://schemas.openxmlformats.org/officeDocument/2006/relationships/tags" Target="../tags/tag209.xml"/><Relationship Id="rId49" Type="http://schemas.openxmlformats.org/officeDocument/2006/relationships/tags" Target="../tags/tag230.xml"/><Relationship Id="rId114" Type="http://schemas.openxmlformats.org/officeDocument/2006/relationships/tags" Target="../tags/tag295.xml"/><Relationship Id="rId119" Type="http://schemas.openxmlformats.org/officeDocument/2006/relationships/tags" Target="../tags/tag300.xml"/><Relationship Id="rId44" Type="http://schemas.openxmlformats.org/officeDocument/2006/relationships/tags" Target="../tags/tag225.xml"/><Relationship Id="rId60" Type="http://schemas.openxmlformats.org/officeDocument/2006/relationships/tags" Target="../tags/tag241.xml"/><Relationship Id="rId65" Type="http://schemas.openxmlformats.org/officeDocument/2006/relationships/tags" Target="../tags/tag246.xml"/><Relationship Id="rId81" Type="http://schemas.openxmlformats.org/officeDocument/2006/relationships/tags" Target="../tags/tag262.xml"/><Relationship Id="rId86" Type="http://schemas.openxmlformats.org/officeDocument/2006/relationships/tags" Target="../tags/tag267.xml"/><Relationship Id="rId13" Type="http://schemas.openxmlformats.org/officeDocument/2006/relationships/tags" Target="../tags/tag194.xml"/><Relationship Id="rId18" Type="http://schemas.openxmlformats.org/officeDocument/2006/relationships/tags" Target="../tags/tag199.xml"/><Relationship Id="rId39" Type="http://schemas.openxmlformats.org/officeDocument/2006/relationships/tags" Target="../tags/tag220.xml"/><Relationship Id="rId109" Type="http://schemas.openxmlformats.org/officeDocument/2006/relationships/tags" Target="../tags/tag290.xml"/><Relationship Id="rId34" Type="http://schemas.openxmlformats.org/officeDocument/2006/relationships/tags" Target="../tags/tag215.xml"/><Relationship Id="rId50" Type="http://schemas.openxmlformats.org/officeDocument/2006/relationships/tags" Target="../tags/tag231.xml"/><Relationship Id="rId55" Type="http://schemas.openxmlformats.org/officeDocument/2006/relationships/tags" Target="../tags/tag236.xml"/><Relationship Id="rId76" Type="http://schemas.openxmlformats.org/officeDocument/2006/relationships/tags" Target="../tags/tag257.xml"/><Relationship Id="rId97" Type="http://schemas.openxmlformats.org/officeDocument/2006/relationships/tags" Target="../tags/tag278.xml"/><Relationship Id="rId104" Type="http://schemas.openxmlformats.org/officeDocument/2006/relationships/tags" Target="../tags/tag285.xml"/><Relationship Id="rId120" Type="http://schemas.openxmlformats.org/officeDocument/2006/relationships/slideLayout" Target="../slideLayouts/slideLayout2.xml"/><Relationship Id="rId125" Type="http://schemas.openxmlformats.org/officeDocument/2006/relationships/chart" Target="../charts/chart7.xml"/><Relationship Id="rId7" Type="http://schemas.openxmlformats.org/officeDocument/2006/relationships/tags" Target="../tags/tag188.xml"/><Relationship Id="rId71" Type="http://schemas.openxmlformats.org/officeDocument/2006/relationships/tags" Target="../tags/tag252.xml"/><Relationship Id="rId92" Type="http://schemas.openxmlformats.org/officeDocument/2006/relationships/tags" Target="../tags/tag273.xml"/><Relationship Id="rId2" Type="http://schemas.openxmlformats.org/officeDocument/2006/relationships/tags" Target="../tags/tag183.xml"/><Relationship Id="rId29" Type="http://schemas.openxmlformats.org/officeDocument/2006/relationships/tags" Target="../tags/tag210.xml"/><Relationship Id="rId24" Type="http://schemas.openxmlformats.org/officeDocument/2006/relationships/tags" Target="../tags/tag205.xml"/><Relationship Id="rId40" Type="http://schemas.openxmlformats.org/officeDocument/2006/relationships/tags" Target="../tags/tag221.xml"/><Relationship Id="rId45" Type="http://schemas.openxmlformats.org/officeDocument/2006/relationships/tags" Target="../tags/tag226.xml"/><Relationship Id="rId66" Type="http://schemas.openxmlformats.org/officeDocument/2006/relationships/tags" Target="../tags/tag247.xml"/><Relationship Id="rId87" Type="http://schemas.openxmlformats.org/officeDocument/2006/relationships/tags" Target="../tags/tag268.xml"/><Relationship Id="rId110" Type="http://schemas.openxmlformats.org/officeDocument/2006/relationships/tags" Target="../tags/tag291.xml"/><Relationship Id="rId115" Type="http://schemas.openxmlformats.org/officeDocument/2006/relationships/tags" Target="../tags/tag296.xml"/><Relationship Id="rId61" Type="http://schemas.openxmlformats.org/officeDocument/2006/relationships/tags" Target="../tags/tag242.xml"/><Relationship Id="rId82" Type="http://schemas.openxmlformats.org/officeDocument/2006/relationships/tags" Target="../tags/tag263.xml"/><Relationship Id="rId19" Type="http://schemas.openxmlformats.org/officeDocument/2006/relationships/tags" Target="../tags/tag200.xml"/><Relationship Id="rId14" Type="http://schemas.openxmlformats.org/officeDocument/2006/relationships/tags" Target="../tags/tag195.xml"/><Relationship Id="rId30" Type="http://schemas.openxmlformats.org/officeDocument/2006/relationships/tags" Target="../tags/tag211.xml"/><Relationship Id="rId35" Type="http://schemas.openxmlformats.org/officeDocument/2006/relationships/tags" Target="../tags/tag216.xml"/><Relationship Id="rId56" Type="http://schemas.openxmlformats.org/officeDocument/2006/relationships/tags" Target="../tags/tag237.xml"/><Relationship Id="rId77" Type="http://schemas.openxmlformats.org/officeDocument/2006/relationships/tags" Target="../tags/tag258.xml"/><Relationship Id="rId100" Type="http://schemas.openxmlformats.org/officeDocument/2006/relationships/tags" Target="../tags/tag281.xml"/><Relationship Id="rId105" Type="http://schemas.openxmlformats.org/officeDocument/2006/relationships/tags" Target="../tags/tag286.xml"/><Relationship Id="rId126" Type="http://schemas.openxmlformats.org/officeDocument/2006/relationships/chart" Target="../charts/chart8.xml"/><Relationship Id="rId8" Type="http://schemas.openxmlformats.org/officeDocument/2006/relationships/tags" Target="../tags/tag189.xml"/><Relationship Id="rId51" Type="http://schemas.openxmlformats.org/officeDocument/2006/relationships/tags" Target="../tags/tag232.xml"/><Relationship Id="rId72" Type="http://schemas.openxmlformats.org/officeDocument/2006/relationships/tags" Target="../tags/tag253.xml"/><Relationship Id="rId93" Type="http://schemas.openxmlformats.org/officeDocument/2006/relationships/tags" Target="../tags/tag274.xml"/><Relationship Id="rId98" Type="http://schemas.openxmlformats.org/officeDocument/2006/relationships/tags" Target="../tags/tag279.xml"/><Relationship Id="rId121" Type="http://schemas.openxmlformats.org/officeDocument/2006/relationships/notesSlide" Target="../notesSlides/notesSlide3.xml"/><Relationship Id="rId3" Type="http://schemas.openxmlformats.org/officeDocument/2006/relationships/tags" Target="../tags/tag184.xml"/><Relationship Id="rId25" Type="http://schemas.openxmlformats.org/officeDocument/2006/relationships/tags" Target="../tags/tag206.xml"/><Relationship Id="rId46" Type="http://schemas.openxmlformats.org/officeDocument/2006/relationships/tags" Target="../tags/tag227.xml"/><Relationship Id="rId67" Type="http://schemas.openxmlformats.org/officeDocument/2006/relationships/tags" Target="../tags/tag248.xml"/><Relationship Id="rId116" Type="http://schemas.openxmlformats.org/officeDocument/2006/relationships/tags" Target="../tags/tag297.xml"/><Relationship Id="rId20" Type="http://schemas.openxmlformats.org/officeDocument/2006/relationships/tags" Target="../tags/tag201.xml"/><Relationship Id="rId41" Type="http://schemas.openxmlformats.org/officeDocument/2006/relationships/tags" Target="../tags/tag222.xml"/><Relationship Id="rId62" Type="http://schemas.openxmlformats.org/officeDocument/2006/relationships/tags" Target="../tags/tag243.xml"/><Relationship Id="rId83" Type="http://schemas.openxmlformats.org/officeDocument/2006/relationships/tags" Target="../tags/tag264.xml"/><Relationship Id="rId88" Type="http://schemas.openxmlformats.org/officeDocument/2006/relationships/tags" Target="../tags/tag269.xml"/><Relationship Id="rId111" Type="http://schemas.openxmlformats.org/officeDocument/2006/relationships/tags" Target="../tags/tag292.xml"/><Relationship Id="rId15" Type="http://schemas.openxmlformats.org/officeDocument/2006/relationships/tags" Target="../tags/tag196.xml"/><Relationship Id="rId36" Type="http://schemas.openxmlformats.org/officeDocument/2006/relationships/tags" Target="../tags/tag217.xml"/><Relationship Id="rId57" Type="http://schemas.openxmlformats.org/officeDocument/2006/relationships/tags" Target="../tags/tag238.xml"/><Relationship Id="rId106" Type="http://schemas.openxmlformats.org/officeDocument/2006/relationships/tags" Target="../tags/tag287.xml"/><Relationship Id="rId127" Type="http://schemas.openxmlformats.org/officeDocument/2006/relationships/chart" Target="../charts/chart9.xml"/><Relationship Id="rId10" Type="http://schemas.openxmlformats.org/officeDocument/2006/relationships/tags" Target="../tags/tag191.xml"/><Relationship Id="rId31" Type="http://schemas.openxmlformats.org/officeDocument/2006/relationships/tags" Target="../tags/tag212.xml"/><Relationship Id="rId52" Type="http://schemas.openxmlformats.org/officeDocument/2006/relationships/tags" Target="../tags/tag233.xml"/><Relationship Id="rId73" Type="http://schemas.openxmlformats.org/officeDocument/2006/relationships/tags" Target="../tags/tag254.xml"/><Relationship Id="rId78" Type="http://schemas.openxmlformats.org/officeDocument/2006/relationships/tags" Target="../tags/tag259.xml"/><Relationship Id="rId94" Type="http://schemas.openxmlformats.org/officeDocument/2006/relationships/tags" Target="../tags/tag275.xml"/><Relationship Id="rId99" Type="http://schemas.openxmlformats.org/officeDocument/2006/relationships/tags" Target="../tags/tag280.xml"/><Relationship Id="rId101" Type="http://schemas.openxmlformats.org/officeDocument/2006/relationships/tags" Target="../tags/tag282.xml"/><Relationship Id="rId122" Type="http://schemas.openxmlformats.org/officeDocument/2006/relationships/oleObject" Target="../embeddings/oleObject4.bin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417.xml"/><Relationship Id="rId21" Type="http://schemas.openxmlformats.org/officeDocument/2006/relationships/tags" Target="../tags/tag321.xml"/><Relationship Id="rId42" Type="http://schemas.openxmlformats.org/officeDocument/2006/relationships/tags" Target="../tags/tag342.xml"/><Relationship Id="rId63" Type="http://schemas.openxmlformats.org/officeDocument/2006/relationships/tags" Target="../tags/tag363.xml"/><Relationship Id="rId84" Type="http://schemas.openxmlformats.org/officeDocument/2006/relationships/tags" Target="../tags/tag384.xml"/><Relationship Id="rId16" Type="http://schemas.openxmlformats.org/officeDocument/2006/relationships/tags" Target="../tags/tag316.xml"/><Relationship Id="rId107" Type="http://schemas.openxmlformats.org/officeDocument/2006/relationships/tags" Target="../tags/tag407.xml"/><Relationship Id="rId11" Type="http://schemas.openxmlformats.org/officeDocument/2006/relationships/tags" Target="../tags/tag311.xml"/><Relationship Id="rId32" Type="http://schemas.openxmlformats.org/officeDocument/2006/relationships/tags" Target="../tags/tag332.xml"/><Relationship Id="rId37" Type="http://schemas.openxmlformats.org/officeDocument/2006/relationships/tags" Target="../tags/tag337.xml"/><Relationship Id="rId53" Type="http://schemas.openxmlformats.org/officeDocument/2006/relationships/tags" Target="../tags/tag353.xml"/><Relationship Id="rId58" Type="http://schemas.openxmlformats.org/officeDocument/2006/relationships/tags" Target="../tags/tag358.xml"/><Relationship Id="rId74" Type="http://schemas.openxmlformats.org/officeDocument/2006/relationships/tags" Target="../tags/tag374.xml"/><Relationship Id="rId79" Type="http://schemas.openxmlformats.org/officeDocument/2006/relationships/tags" Target="../tags/tag379.xml"/><Relationship Id="rId102" Type="http://schemas.openxmlformats.org/officeDocument/2006/relationships/tags" Target="../tags/tag402.xml"/><Relationship Id="rId123" Type="http://schemas.openxmlformats.org/officeDocument/2006/relationships/tags" Target="../tags/tag423.xml"/><Relationship Id="rId128" Type="http://schemas.openxmlformats.org/officeDocument/2006/relationships/slideLayout" Target="../slideLayouts/slideLayout2.xml"/><Relationship Id="rId5" Type="http://schemas.openxmlformats.org/officeDocument/2006/relationships/tags" Target="../tags/tag305.xml"/><Relationship Id="rId90" Type="http://schemas.openxmlformats.org/officeDocument/2006/relationships/tags" Target="../tags/tag390.xml"/><Relationship Id="rId95" Type="http://schemas.openxmlformats.org/officeDocument/2006/relationships/tags" Target="../tags/tag395.xml"/><Relationship Id="rId22" Type="http://schemas.openxmlformats.org/officeDocument/2006/relationships/tags" Target="../tags/tag322.xml"/><Relationship Id="rId27" Type="http://schemas.openxmlformats.org/officeDocument/2006/relationships/tags" Target="../tags/tag327.xml"/><Relationship Id="rId43" Type="http://schemas.openxmlformats.org/officeDocument/2006/relationships/tags" Target="../tags/tag343.xml"/><Relationship Id="rId48" Type="http://schemas.openxmlformats.org/officeDocument/2006/relationships/tags" Target="../tags/tag348.xml"/><Relationship Id="rId64" Type="http://schemas.openxmlformats.org/officeDocument/2006/relationships/tags" Target="../tags/tag364.xml"/><Relationship Id="rId69" Type="http://schemas.openxmlformats.org/officeDocument/2006/relationships/tags" Target="../tags/tag369.xml"/><Relationship Id="rId113" Type="http://schemas.openxmlformats.org/officeDocument/2006/relationships/tags" Target="../tags/tag413.xml"/><Relationship Id="rId118" Type="http://schemas.openxmlformats.org/officeDocument/2006/relationships/tags" Target="../tags/tag418.xml"/><Relationship Id="rId134" Type="http://schemas.openxmlformats.org/officeDocument/2006/relationships/chart" Target="../charts/chart12.xml"/><Relationship Id="rId80" Type="http://schemas.openxmlformats.org/officeDocument/2006/relationships/tags" Target="../tags/tag380.xml"/><Relationship Id="rId85" Type="http://schemas.openxmlformats.org/officeDocument/2006/relationships/tags" Target="../tags/tag385.xml"/><Relationship Id="rId12" Type="http://schemas.openxmlformats.org/officeDocument/2006/relationships/tags" Target="../tags/tag312.xml"/><Relationship Id="rId17" Type="http://schemas.openxmlformats.org/officeDocument/2006/relationships/tags" Target="../tags/tag317.xml"/><Relationship Id="rId33" Type="http://schemas.openxmlformats.org/officeDocument/2006/relationships/tags" Target="../tags/tag333.xml"/><Relationship Id="rId38" Type="http://schemas.openxmlformats.org/officeDocument/2006/relationships/tags" Target="../tags/tag338.xml"/><Relationship Id="rId59" Type="http://schemas.openxmlformats.org/officeDocument/2006/relationships/tags" Target="../tags/tag359.xml"/><Relationship Id="rId103" Type="http://schemas.openxmlformats.org/officeDocument/2006/relationships/tags" Target="../tags/tag403.xml"/><Relationship Id="rId108" Type="http://schemas.openxmlformats.org/officeDocument/2006/relationships/tags" Target="../tags/tag408.xml"/><Relationship Id="rId124" Type="http://schemas.openxmlformats.org/officeDocument/2006/relationships/tags" Target="../tags/tag424.xml"/><Relationship Id="rId129" Type="http://schemas.openxmlformats.org/officeDocument/2006/relationships/notesSlide" Target="../notesSlides/notesSlide4.xml"/><Relationship Id="rId54" Type="http://schemas.openxmlformats.org/officeDocument/2006/relationships/tags" Target="../tags/tag354.xml"/><Relationship Id="rId70" Type="http://schemas.openxmlformats.org/officeDocument/2006/relationships/tags" Target="../tags/tag370.xml"/><Relationship Id="rId75" Type="http://schemas.openxmlformats.org/officeDocument/2006/relationships/tags" Target="../tags/tag375.xml"/><Relationship Id="rId91" Type="http://schemas.openxmlformats.org/officeDocument/2006/relationships/tags" Target="../tags/tag391.xml"/><Relationship Id="rId96" Type="http://schemas.openxmlformats.org/officeDocument/2006/relationships/tags" Target="../tags/tag396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23" Type="http://schemas.openxmlformats.org/officeDocument/2006/relationships/tags" Target="../tags/tag323.xml"/><Relationship Id="rId28" Type="http://schemas.openxmlformats.org/officeDocument/2006/relationships/tags" Target="../tags/tag328.xml"/><Relationship Id="rId49" Type="http://schemas.openxmlformats.org/officeDocument/2006/relationships/tags" Target="../tags/tag349.xml"/><Relationship Id="rId114" Type="http://schemas.openxmlformats.org/officeDocument/2006/relationships/tags" Target="../tags/tag414.xml"/><Relationship Id="rId119" Type="http://schemas.openxmlformats.org/officeDocument/2006/relationships/tags" Target="../tags/tag419.xml"/><Relationship Id="rId44" Type="http://schemas.openxmlformats.org/officeDocument/2006/relationships/tags" Target="../tags/tag344.xml"/><Relationship Id="rId60" Type="http://schemas.openxmlformats.org/officeDocument/2006/relationships/tags" Target="../tags/tag360.xml"/><Relationship Id="rId65" Type="http://schemas.openxmlformats.org/officeDocument/2006/relationships/tags" Target="../tags/tag365.xml"/><Relationship Id="rId81" Type="http://schemas.openxmlformats.org/officeDocument/2006/relationships/tags" Target="../tags/tag381.xml"/><Relationship Id="rId86" Type="http://schemas.openxmlformats.org/officeDocument/2006/relationships/tags" Target="../tags/tag386.xml"/><Relationship Id="rId130" Type="http://schemas.openxmlformats.org/officeDocument/2006/relationships/oleObject" Target="../embeddings/oleObject5.bin"/><Relationship Id="rId135" Type="http://schemas.openxmlformats.org/officeDocument/2006/relationships/chart" Target="../charts/chart13.xml"/><Relationship Id="rId13" Type="http://schemas.openxmlformats.org/officeDocument/2006/relationships/tags" Target="../tags/tag313.xml"/><Relationship Id="rId18" Type="http://schemas.openxmlformats.org/officeDocument/2006/relationships/tags" Target="../tags/tag318.xml"/><Relationship Id="rId39" Type="http://schemas.openxmlformats.org/officeDocument/2006/relationships/tags" Target="../tags/tag339.xml"/><Relationship Id="rId109" Type="http://schemas.openxmlformats.org/officeDocument/2006/relationships/tags" Target="../tags/tag409.xml"/><Relationship Id="rId34" Type="http://schemas.openxmlformats.org/officeDocument/2006/relationships/tags" Target="../tags/tag334.xml"/><Relationship Id="rId50" Type="http://schemas.openxmlformats.org/officeDocument/2006/relationships/tags" Target="../tags/tag350.xml"/><Relationship Id="rId55" Type="http://schemas.openxmlformats.org/officeDocument/2006/relationships/tags" Target="../tags/tag355.xml"/><Relationship Id="rId76" Type="http://schemas.openxmlformats.org/officeDocument/2006/relationships/tags" Target="../tags/tag376.xml"/><Relationship Id="rId97" Type="http://schemas.openxmlformats.org/officeDocument/2006/relationships/tags" Target="../tags/tag397.xml"/><Relationship Id="rId104" Type="http://schemas.openxmlformats.org/officeDocument/2006/relationships/tags" Target="../tags/tag404.xml"/><Relationship Id="rId120" Type="http://schemas.openxmlformats.org/officeDocument/2006/relationships/tags" Target="../tags/tag420.xml"/><Relationship Id="rId125" Type="http://schemas.openxmlformats.org/officeDocument/2006/relationships/tags" Target="../tags/tag425.xml"/><Relationship Id="rId7" Type="http://schemas.openxmlformats.org/officeDocument/2006/relationships/tags" Target="../tags/tag307.xml"/><Relationship Id="rId71" Type="http://schemas.openxmlformats.org/officeDocument/2006/relationships/tags" Target="../tags/tag371.xml"/><Relationship Id="rId92" Type="http://schemas.openxmlformats.org/officeDocument/2006/relationships/tags" Target="../tags/tag392.xml"/><Relationship Id="rId2" Type="http://schemas.openxmlformats.org/officeDocument/2006/relationships/tags" Target="../tags/tag302.xml"/><Relationship Id="rId29" Type="http://schemas.openxmlformats.org/officeDocument/2006/relationships/tags" Target="../tags/tag329.xml"/><Relationship Id="rId24" Type="http://schemas.openxmlformats.org/officeDocument/2006/relationships/tags" Target="../tags/tag324.xml"/><Relationship Id="rId40" Type="http://schemas.openxmlformats.org/officeDocument/2006/relationships/tags" Target="../tags/tag340.xml"/><Relationship Id="rId45" Type="http://schemas.openxmlformats.org/officeDocument/2006/relationships/tags" Target="../tags/tag345.xml"/><Relationship Id="rId66" Type="http://schemas.openxmlformats.org/officeDocument/2006/relationships/tags" Target="../tags/tag366.xml"/><Relationship Id="rId87" Type="http://schemas.openxmlformats.org/officeDocument/2006/relationships/tags" Target="../tags/tag387.xml"/><Relationship Id="rId110" Type="http://schemas.openxmlformats.org/officeDocument/2006/relationships/tags" Target="../tags/tag410.xml"/><Relationship Id="rId115" Type="http://schemas.openxmlformats.org/officeDocument/2006/relationships/tags" Target="../tags/tag415.xml"/><Relationship Id="rId131" Type="http://schemas.openxmlformats.org/officeDocument/2006/relationships/image" Target="../media/image2.emf"/><Relationship Id="rId61" Type="http://schemas.openxmlformats.org/officeDocument/2006/relationships/tags" Target="../tags/tag361.xml"/><Relationship Id="rId82" Type="http://schemas.openxmlformats.org/officeDocument/2006/relationships/tags" Target="../tags/tag382.xml"/><Relationship Id="rId19" Type="http://schemas.openxmlformats.org/officeDocument/2006/relationships/tags" Target="../tags/tag319.xml"/><Relationship Id="rId14" Type="http://schemas.openxmlformats.org/officeDocument/2006/relationships/tags" Target="../tags/tag314.xml"/><Relationship Id="rId30" Type="http://schemas.openxmlformats.org/officeDocument/2006/relationships/tags" Target="../tags/tag330.xml"/><Relationship Id="rId35" Type="http://schemas.openxmlformats.org/officeDocument/2006/relationships/tags" Target="../tags/tag335.xml"/><Relationship Id="rId56" Type="http://schemas.openxmlformats.org/officeDocument/2006/relationships/tags" Target="../tags/tag356.xml"/><Relationship Id="rId77" Type="http://schemas.openxmlformats.org/officeDocument/2006/relationships/tags" Target="../tags/tag377.xml"/><Relationship Id="rId100" Type="http://schemas.openxmlformats.org/officeDocument/2006/relationships/tags" Target="../tags/tag400.xml"/><Relationship Id="rId105" Type="http://schemas.openxmlformats.org/officeDocument/2006/relationships/tags" Target="../tags/tag405.xml"/><Relationship Id="rId126" Type="http://schemas.openxmlformats.org/officeDocument/2006/relationships/tags" Target="../tags/tag426.xml"/><Relationship Id="rId8" Type="http://schemas.openxmlformats.org/officeDocument/2006/relationships/tags" Target="../tags/tag308.xml"/><Relationship Id="rId51" Type="http://schemas.openxmlformats.org/officeDocument/2006/relationships/tags" Target="../tags/tag351.xml"/><Relationship Id="rId72" Type="http://schemas.openxmlformats.org/officeDocument/2006/relationships/tags" Target="../tags/tag372.xml"/><Relationship Id="rId93" Type="http://schemas.openxmlformats.org/officeDocument/2006/relationships/tags" Target="../tags/tag393.xml"/><Relationship Id="rId98" Type="http://schemas.openxmlformats.org/officeDocument/2006/relationships/tags" Target="../tags/tag398.xml"/><Relationship Id="rId121" Type="http://schemas.openxmlformats.org/officeDocument/2006/relationships/tags" Target="../tags/tag421.xml"/><Relationship Id="rId3" Type="http://schemas.openxmlformats.org/officeDocument/2006/relationships/tags" Target="../tags/tag303.xml"/><Relationship Id="rId25" Type="http://schemas.openxmlformats.org/officeDocument/2006/relationships/tags" Target="../tags/tag325.xml"/><Relationship Id="rId46" Type="http://schemas.openxmlformats.org/officeDocument/2006/relationships/tags" Target="../tags/tag346.xml"/><Relationship Id="rId67" Type="http://schemas.openxmlformats.org/officeDocument/2006/relationships/tags" Target="../tags/tag367.xml"/><Relationship Id="rId116" Type="http://schemas.openxmlformats.org/officeDocument/2006/relationships/tags" Target="../tags/tag416.xml"/><Relationship Id="rId20" Type="http://schemas.openxmlformats.org/officeDocument/2006/relationships/tags" Target="../tags/tag320.xml"/><Relationship Id="rId41" Type="http://schemas.openxmlformats.org/officeDocument/2006/relationships/tags" Target="../tags/tag341.xml"/><Relationship Id="rId62" Type="http://schemas.openxmlformats.org/officeDocument/2006/relationships/tags" Target="../tags/tag362.xml"/><Relationship Id="rId83" Type="http://schemas.openxmlformats.org/officeDocument/2006/relationships/tags" Target="../tags/tag383.xml"/><Relationship Id="rId88" Type="http://schemas.openxmlformats.org/officeDocument/2006/relationships/tags" Target="../tags/tag388.xml"/><Relationship Id="rId111" Type="http://schemas.openxmlformats.org/officeDocument/2006/relationships/tags" Target="../tags/tag411.xml"/><Relationship Id="rId132" Type="http://schemas.openxmlformats.org/officeDocument/2006/relationships/chart" Target="../charts/chart10.xml"/><Relationship Id="rId15" Type="http://schemas.openxmlformats.org/officeDocument/2006/relationships/tags" Target="../tags/tag315.xml"/><Relationship Id="rId36" Type="http://schemas.openxmlformats.org/officeDocument/2006/relationships/tags" Target="../tags/tag336.xml"/><Relationship Id="rId57" Type="http://schemas.openxmlformats.org/officeDocument/2006/relationships/tags" Target="../tags/tag357.xml"/><Relationship Id="rId106" Type="http://schemas.openxmlformats.org/officeDocument/2006/relationships/tags" Target="../tags/tag406.xml"/><Relationship Id="rId127" Type="http://schemas.openxmlformats.org/officeDocument/2006/relationships/tags" Target="../tags/tag427.xml"/><Relationship Id="rId10" Type="http://schemas.openxmlformats.org/officeDocument/2006/relationships/tags" Target="../tags/tag310.xml"/><Relationship Id="rId31" Type="http://schemas.openxmlformats.org/officeDocument/2006/relationships/tags" Target="../tags/tag331.xml"/><Relationship Id="rId52" Type="http://schemas.openxmlformats.org/officeDocument/2006/relationships/tags" Target="../tags/tag352.xml"/><Relationship Id="rId73" Type="http://schemas.openxmlformats.org/officeDocument/2006/relationships/tags" Target="../tags/tag373.xml"/><Relationship Id="rId78" Type="http://schemas.openxmlformats.org/officeDocument/2006/relationships/tags" Target="../tags/tag378.xml"/><Relationship Id="rId94" Type="http://schemas.openxmlformats.org/officeDocument/2006/relationships/tags" Target="../tags/tag394.xml"/><Relationship Id="rId99" Type="http://schemas.openxmlformats.org/officeDocument/2006/relationships/tags" Target="../tags/tag399.xml"/><Relationship Id="rId101" Type="http://schemas.openxmlformats.org/officeDocument/2006/relationships/tags" Target="../tags/tag401.xml"/><Relationship Id="rId122" Type="http://schemas.openxmlformats.org/officeDocument/2006/relationships/tags" Target="../tags/tag422.xml"/><Relationship Id="rId4" Type="http://schemas.openxmlformats.org/officeDocument/2006/relationships/tags" Target="../tags/tag304.xml"/><Relationship Id="rId9" Type="http://schemas.openxmlformats.org/officeDocument/2006/relationships/tags" Target="../tags/tag309.xml"/><Relationship Id="rId26" Type="http://schemas.openxmlformats.org/officeDocument/2006/relationships/tags" Target="../tags/tag326.xml"/><Relationship Id="rId47" Type="http://schemas.openxmlformats.org/officeDocument/2006/relationships/tags" Target="../tags/tag347.xml"/><Relationship Id="rId68" Type="http://schemas.openxmlformats.org/officeDocument/2006/relationships/tags" Target="../tags/tag368.xml"/><Relationship Id="rId89" Type="http://schemas.openxmlformats.org/officeDocument/2006/relationships/tags" Target="../tags/tag389.xml"/><Relationship Id="rId112" Type="http://schemas.openxmlformats.org/officeDocument/2006/relationships/tags" Target="../tags/tag412.xml"/><Relationship Id="rId133" Type="http://schemas.openxmlformats.org/officeDocument/2006/relationships/chart" Target="../charts/chart11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453.xml"/><Relationship Id="rId117" Type="http://schemas.openxmlformats.org/officeDocument/2006/relationships/tags" Target="../tags/tag544.xml"/><Relationship Id="rId21" Type="http://schemas.openxmlformats.org/officeDocument/2006/relationships/tags" Target="../tags/tag448.xml"/><Relationship Id="rId42" Type="http://schemas.openxmlformats.org/officeDocument/2006/relationships/tags" Target="../tags/tag469.xml"/><Relationship Id="rId47" Type="http://schemas.openxmlformats.org/officeDocument/2006/relationships/tags" Target="../tags/tag474.xml"/><Relationship Id="rId63" Type="http://schemas.openxmlformats.org/officeDocument/2006/relationships/tags" Target="../tags/tag490.xml"/><Relationship Id="rId68" Type="http://schemas.openxmlformats.org/officeDocument/2006/relationships/tags" Target="../tags/tag495.xml"/><Relationship Id="rId84" Type="http://schemas.openxmlformats.org/officeDocument/2006/relationships/tags" Target="../tags/tag511.xml"/><Relationship Id="rId89" Type="http://schemas.openxmlformats.org/officeDocument/2006/relationships/tags" Target="../tags/tag516.xml"/><Relationship Id="rId112" Type="http://schemas.openxmlformats.org/officeDocument/2006/relationships/tags" Target="../tags/tag539.xml"/><Relationship Id="rId16" Type="http://schemas.openxmlformats.org/officeDocument/2006/relationships/tags" Target="../tags/tag443.xml"/><Relationship Id="rId107" Type="http://schemas.openxmlformats.org/officeDocument/2006/relationships/tags" Target="../tags/tag534.xml"/><Relationship Id="rId11" Type="http://schemas.openxmlformats.org/officeDocument/2006/relationships/tags" Target="../tags/tag438.xml"/><Relationship Id="rId32" Type="http://schemas.openxmlformats.org/officeDocument/2006/relationships/tags" Target="../tags/tag459.xml"/><Relationship Id="rId37" Type="http://schemas.openxmlformats.org/officeDocument/2006/relationships/tags" Target="../tags/tag464.xml"/><Relationship Id="rId53" Type="http://schemas.openxmlformats.org/officeDocument/2006/relationships/tags" Target="../tags/tag480.xml"/><Relationship Id="rId58" Type="http://schemas.openxmlformats.org/officeDocument/2006/relationships/tags" Target="../tags/tag485.xml"/><Relationship Id="rId74" Type="http://schemas.openxmlformats.org/officeDocument/2006/relationships/tags" Target="../tags/tag501.xml"/><Relationship Id="rId79" Type="http://schemas.openxmlformats.org/officeDocument/2006/relationships/tags" Target="../tags/tag506.xml"/><Relationship Id="rId102" Type="http://schemas.openxmlformats.org/officeDocument/2006/relationships/tags" Target="../tags/tag529.xml"/><Relationship Id="rId123" Type="http://schemas.openxmlformats.org/officeDocument/2006/relationships/oleObject" Target="../embeddings/oleObject6.bin"/><Relationship Id="rId128" Type="http://schemas.openxmlformats.org/officeDocument/2006/relationships/chart" Target="../charts/chart17.xml"/><Relationship Id="rId5" Type="http://schemas.openxmlformats.org/officeDocument/2006/relationships/tags" Target="../tags/tag432.xml"/><Relationship Id="rId90" Type="http://schemas.openxmlformats.org/officeDocument/2006/relationships/tags" Target="../tags/tag517.xml"/><Relationship Id="rId95" Type="http://schemas.openxmlformats.org/officeDocument/2006/relationships/tags" Target="../tags/tag522.xml"/><Relationship Id="rId22" Type="http://schemas.openxmlformats.org/officeDocument/2006/relationships/tags" Target="../tags/tag449.xml"/><Relationship Id="rId27" Type="http://schemas.openxmlformats.org/officeDocument/2006/relationships/tags" Target="../tags/tag454.xml"/><Relationship Id="rId43" Type="http://schemas.openxmlformats.org/officeDocument/2006/relationships/tags" Target="../tags/tag470.xml"/><Relationship Id="rId48" Type="http://schemas.openxmlformats.org/officeDocument/2006/relationships/tags" Target="../tags/tag475.xml"/><Relationship Id="rId64" Type="http://schemas.openxmlformats.org/officeDocument/2006/relationships/tags" Target="../tags/tag491.xml"/><Relationship Id="rId69" Type="http://schemas.openxmlformats.org/officeDocument/2006/relationships/tags" Target="../tags/tag496.xml"/><Relationship Id="rId113" Type="http://schemas.openxmlformats.org/officeDocument/2006/relationships/tags" Target="../tags/tag540.xml"/><Relationship Id="rId118" Type="http://schemas.openxmlformats.org/officeDocument/2006/relationships/tags" Target="../tags/tag545.xml"/><Relationship Id="rId80" Type="http://schemas.openxmlformats.org/officeDocument/2006/relationships/tags" Target="../tags/tag507.xml"/><Relationship Id="rId85" Type="http://schemas.openxmlformats.org/officeDocument/2006/relationships/tags" Target="../tags/tag512.xml"/><Relationship Id="rId12" Type="http://schemas.openxmlformats.org/officeDocument/2006/relationships/tags" Target="../tags/tag439.xml"/><Relationship Id="rId17" Type="http://schemas.openxmlformats.org/officeDocument/2006/relationships/tags" Target="../tags/tag444.xml"/><Relationship Id="rId33" Type="http://schemas.openxmlformats.org/officeDocument/2006/relationships/tags" Target="../tags/tag460.xml"/><Relationship Id="rId38" Type="http://schemas.openxmlformats.org/officeDocument/2006/relationships/tags" Target="../tags/tag465.xml"/><Relationship Id="rId59" Type="http://schemas.openxmlformats.org/officeDocument/2006/relationships/tags" Target="../tags/tag486.xml"/><Relationship Id="rId103" Type="http://schemas.openxmlformats.org/officeDocument/2006/relationships/tags" Target="../tags/tag530.xml"/><Relationship Id="rId108" Type="http://schemas.openxmlformats.org/officeDocument/2006/relationships/tags" Target="../tags/tag535.xml"/><Relationship Id="rId124" Type="http://schemas.openxmlformats.org/officeDocument/2006/relationships/image" Target="../media/image4.emf"/><Relationship Id="rId54" Type="http://schemas.openxmlformats.org/officeDocument/2006/relationships/tags" Target="../tags/tag481.xml"/><Relationship Id="rId70" Type="http://schemas.openxmlformats.org/officeDocument/2006/relationships/tags" Target="../tags/tag497.xml"/><Relationship Id="rId75" Type="http://schemas.openxmlformats.org/officeDocument/2006/relationships/tags" Target="../tags/tag502.xml"/><Relationship Id="rId91" Type="http://schemas.openxmlformats.org/officeDocument/2006/relationships/tags" Target="../tags/tag518.xml"/><Relationship Id="rId96" Type="http://schemas.openxmlformats.org/officeDocument/2006/relationships/tags" Target="../tags/tag523.xml"/><Relationship Id="rId1" Type="http://schemas.openxmlformats.org/officeDocument/2006/relationships/tags" Target="../tags/tag428.xml"/><Relationship Id="rId6" Type="http://schemas.openxmlformats.org/officeDocument/2006/relationships/tags" Target="../tags/tag433.xml"/><Relationship Id="rId23" Type="http://schemas.openxmlformats.org/officeDocument/2006/relationships/tags" Target="../tags/tag450.xml"/><Relationship Id="rId28" Type="http://schemas.openxmlformats.org/officeDocument/2006/relationships/tags" Target="../tags/tag455.xml"/><Relationship Id="rId49" Type="http://schemas.openxmlformats.org/officeDocument/2006/relationships/tags" Target="../tags/tag476.xml"/><Relationship Id="rId114" Type="http://schemas.openxmlformats.org/officeDocument/2006/relationships/tags" Target="../tags/tag541.xml"/><Relationship Id="rId119" Type="http://schemas.openxmlformats.org/officeDocument/2006/relationships/tags" Target="../tags/tag546.xml"/><Relationship Id="rId44" Type="http://schemas.openxmlformats.org/officeDocument/2006/relationships/tags" Target="../tags/tag471.xml"/><Relationship Id="rId60" Type="http://schemas.openxmlformats.org/officeDocument/2006/relationships/tags" Target="../tags/tag487.xml"/><Relationship Id="rId65" Type="http://schemas.openxmlformats.org/officeDocument/2006/relationships/tags" Target="../tags/tag492.xml"/><Relationship Id="rId81" Type="http://schemas.openxmlformats.org/officeDocument/2006/relationships/tags" Target="../tags/tag508.xml"/><Relationship Id="rId86" Type="http://schemas.openxmlformats.org/officeDocument/2006/relationships/tags" Target="../tags/tag513.xml"/><Relationship Id="rId13" Type="http://schemas.openxmlformats.org/officeDocument/2006/relationships/tags" Target="../tags/tag440.xml"/><Relationship Id="rId18" Type="http://schemas.openxmlformats.org/officeDocument/2006/relationships/tags" Target="../tags/tag445.xml"/><Relationship Id="rId39" Type="http://schemas.openxmlformats.org/officeDocument/2006/relationships/tags" Target="../tags/tag466.xml"/><Relationship Id="rId109" Type="http://schemas.openxmlformats.org/officeDocument/2006/relationships/tags" Target="../tags/tag536.xml"/><Relationship Id="rId34" Type="http://schemas.openxmlformats.org/officeDocument/2006/relationships/tags" Target="../tags/tag461.xml"/><Relationship Id="rId50" Type="http://schemas.openxmlformats.org/officeDocument/2006/relationships/tags" Target="../tags/tag477.xml"/><Relationship Id="rId55" Type="http://schemas.openxmlformats.org/officeDocument/2006/relationships/tags" Target="../tags/tag482.xml"/><Relationship Id="rId76" Type="http://schemas.openxmlformats.org/officeDocument/2006/relationships/tags" Target="../tags/tag503.xml"/><Relationship Id="rId97" Type="http://schemas.openxmlformats.org/officeDocument/2006/relationships/tags" Target="../tags/tag524.xml"/><Relationship Id="rId104" Type="http://schemas.openxmlformats.org/officeDocument/2006/relationships/tags" Target="../tags/tag531.xml"/><Relationship Id="rId120" Type="http://schemas.openxmlformats.org/officeDocument/2006/relationships/tags" Target="../tags/tag547.xml"/><Relationship Id="rId125" Type="http://schemas.openxmlformats.org/officeDocument/2006/relationships/chart" Target="../charts/chart14.xml"/><Relationship Id="rId7" Type="http://schemas.openxmlformats.org/officeDocument/2006/relationships/tags" Target="../tags/tag434.xml"/><Relationship Id="rId71" Type="http://schemas.openxmlformats.org/officeDocument/2006/relationships/tags" Target="../tags/tag498.xml"/><Relationship Id="rId92" Type="http://schemas.openxmlformats.org/officeDocument/2006/relationships/tags" Target="../tags/tag519.xml"/><Relationship Id="rId2" Type="http://schemas.openxmlformats.org/officeDocument/2006/relationships/tags" Target="../tags/tag429.xml"/><Relationship Id="rId29" Type="http://schemas.openxmlformats.org/officeDocument/2006/relationships/tags" Target="../tags/tag456.xml"/><Relationship Id="rId24" Type="http://schemas.openxmlformats.org/officeDocument/2006/relationships/tags" Target="../tags/tag451.xml"/><Relationship Id="rId40" Type="http://schemas.openxmlformats.org/officeDocument/2006/relationships/tags" Target="../tags/tag467.xml"/><Relationship Id="rId45" Type="http://schemas.openxmlformats.org/officeDocument/2006/relationships/tags" Target="../tags/tag472.xml"/><Relationship Id="rId66" Type="http://schemas.openxmlformats.org/officeDocument/2006/relationships/tags" Target="../tags/tag493.xml"/><Relationship Id="rId87" Type="http://schemas.openxmlformats.org/officeDocument/2006/relationships/tags" Target="../tags/tag514.xml"/><Relationship Id="rId110" Type="http://schemas.openxmlformats.org/officeDocument/2006/relationships/tags" Target="../tags/tag537.xml"/><Relationship Id="rId115" Type="http://schemas.openxmlformats.org/officeDocument/2006/relationships/tags" Target="../tags/tag542.xml"/><Relationship Id="rId61" Type="http://schemas.openxmlformats.org/officeDocument/2006/relationships/tags" Target="../tags/tag488.xml"/><Relationship Id="rId82" Type="http://schemas.openxmlformats.org/officeDocument/2006/relationships/tags" Target="../tags/tag509.xml"/><Relationship Id="rId19" Type="http://schemas.openxmlformats.org/officeDocument/2006/relationships/tags" Target="../tags/tag446.xml"/><Relationship Id="rId14" Type="http://schemas.openxmlformats.org/officeDocument/2006/relationships/tags" Target="../tags/tag441.xml"/><Relationship Id="rId30" Type="http://schemas.openxmlformats.org/officeDocument/2006/relationships/tags" Target="../tags/tag457.xml"/><Relationship Id="rId35" Type="http://schemas.openxmlformats.org/officeDocument/2006/relationships/tags" Target="../tags/tag462.xml"/><Relationship Id="rId56" Type="http://schemas.openxmlformats.org/officeDocument/2006/relationships/tags" Target="../tags/tag483.xml"/><Relationship Id="rId77" Type="http://schemas.openxmlformats.org/officeDocument/2006/relationships/tags" Target="../tags/tag504.xml"/><Relationship Id="rId100" Type="http://schemas.openxmlformats.org/officeDocument/2006/relationships/tags" Target="../tags/tag527.xml"/><Relationship Id="rId105" Type="http://schemas.openxmlformats.org/officeDocument/2006/relationships/tags" Target="../tags/tag532.xml"/><Relationship Id="rId126" Type="http://schemas.openxmlformats.org/officeDocument/2006/relationships/chart" Target="../charts/chart15.xml"/><Relationship Id="rId8" Type="http://schemas.openxmlformats.org/officeDocument/2006/relationships/tags" Target="../tags/tag435.xml"/><Relationship Id="rId51" Type="http://schemas.openxmlformats.org/officeDocument/2006/relationships/tags" Target="../tags/tag478.xml"/><Relationship Id="rId72" Type="http://schemas.openxmlformats.org/officeDocument/2006/relationships/tags" Target="../tags/tag499.xml"/><Relationship Id="rId93" Type="http://schemas.openxmlformats.org/officeDocument/2006/relationships/tags" Target="../tags/tag520.xml"/><Relationship Id="rId98" Type="http://schemas.openxmlformats.org/officeDocument/2006/relationships/tags" Target="../tags/tag525.xml"/><Relationship Id="rId121" Type="http://schemas.openxmlformats.org/officeDocument/2006/relationships/slideLayout" Target="../slideLayouts/slideLayout2.xml"/><Relationship Id="rId3" Type="http://schemas.openxmlformats.org/officeDocument/2006/relationships/tags" Target="../tags/tag430.xml"/><Relationship Id="rId25" Type="http://schemas.openxmlformats.org/officeDocument/2006/relationships/tags" Target="../tags/tag452.xml"/><Relationship Id="rId46" Type="http://schemas.openxmlformats.org/officeDocument/2006/relationships/tags" Target="../tags/tag473.xml"/><Relationship Id="rId67" Type="http://schemas.openxmlformats.org/officeDocument/2006/relationships/tags" Target="../tags/tag494.xml"/><Relationship Id="rId116" Type="http://schemas.openxmlformats.org/officeDocument/2006/relationships/tags" Target="../tags/tag543.xml"/><Relationship Id="rId20" Type="http://schemas.openxmlformats.org/officeDocument/2006/relationships/tags" Target="../tags/tag447.xml"/><Relationship Id="rId41" Type="http://schemas.openxmlformats.org/officeDocument/2006/relationships/tags" Target="../tags/tag468.xml"/><Relationship Id="rId62" Type="http://schemas.openxmlformats.org/officeDocument/2006/relationships/tags" Target="../tags/tag489.xml"/><Relationship Id="rId83" Type="http://schemas.openxmlformats.org/officeDocument/2006/relationships/tags" Target="../tags/tag510.xml"/><Relationship Id="rId88" Type="http://schemas.openxmlformats.org/officeDocument/2006/relationships/tags" Target="../tags/tag515.xml"/><Relationship Id="rId111" Type="http://schemas.openxmlformats.org/officeDocument/2006/relationships/tags" Target="../tags/tag538.xml"/><Relationship Id="rId15" Type="http://schemas.openxmlformats.org/officeDocument/2006/relationships/tags" Target="../tags/tag442.xml"/><Relationship Id="rId36" Type="http://schemas.openxmlformats.org/officeDocument/2006/relationships/tags" Target="../tags/tag463.xml"/><Relationship Id="rId57" Type="http://schemas.openxmlformats.org/officeDocument/2006/relationships/tags" Target="../tags/tag484.xml"/><Relationship Id="rId106" Type="http://schemas.openxmlformats.org/officeDocument/2006/relationships/tags" Target="../tags/tag533.xml"/><Relationship Id="rId127" Type="http://schemas.openxmlformats.org/officeDocument/2006/relationships/chart" Target="../charts/chart16.xml"/><Relationship Id="rId10" Type="http://schemas.openxmlformats.org/officeDocument/2006/relationships/tags" Target="../tags/tag437.xml"/><Relationship Id="rId31" Type="http://schemas.openxmlformats.org/officeDocument/2006/relationships/tags" Target="../tags/tag458.xml"/><Relationship Id="rId52" Type="http://schemas.openxmlformats.org/officeDocument/2006/relationships/tags" Target="../tags/tag479.xml"/><Relationship Id="rId73" Type="http://schemas.openxmlformats.org/officeDocument/2006/relationships/tags" Target="../tags/tag500.xml"/><Relationship Id="rId78" Type="http://schemas.openxmlformats.org/officeDocument/2006/relationships/tags" Target="../tags/tag505.xml"/><Relationship Id="rId94" Type="http://schemas.openxmlformats.org/officeDocument/2006/relationships/tags" Target="../tags/tag521.xml"/><Relationship Id="rId99" Type="http://schemas.openxmlformats.org/officeDocument/2006/relationships/tags" Target="../tags/tag526.xml"/><Relationship Id="rId101" Type="http://schemas.openxmlformats.org/officeDocument/2006/relationships/tags" Target="../tags/tag528.xml"/><Relationship Id="rId122" Type="http://schemas.openxmlformats.org/officeDocument/2006/relationships/notesSlide" Target="../notesSlides/notesSlide5.xml"/><Relationship Id="rId4" Type="http://schemas.openxmlformats.org/officeDocument/2006/relationships/tags" Target="../tags/tag431.xml"/><Relationship Id="rId9" Type="http://schemas.openxmlformats.org/officeDocument/2006/relationships/tags" Target="../tags/tag436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664.xml"/><Relationship Id="rId21" Type="http://schemas.openxmlformats.org/officeDocument/2006/relationships/tags" Target="../tags/tag568.xml"/><Relationship Id="rId42" Type="http://schemas.openxmlformats.org/officeDocument/2006/relationships/tags" Target="../tags/tag589.xml"/><Relationship Id="rId63" Type="http://schemas.openxmlformats.org/officeDocument/2006/relationships/tags" Target="../tags/tag610.xml"/><Relationship Id="rId84" Type="http://schemas.openxmlformats.org/officeDocument/2006/relationships/tags" Target="../tags/tag631.xml"/><Relationship Id="rId138" Type="http://schemas.openxmlformats.org/officeDocument/2006/relationships/tags" Target="../tags/tag685.xml"/><Relationship Id="rId107" Type="http://schemas.openxmlformats.org/officeDocument/2006/relationships/tags" Target="../tags/tag654.xml"/><Relationship Id="rId11" Type="http://schemas.openxmlformats.org/officeDocument/2006/relationships/tags" Target="../tags/tag558.xml"/><Relationship Id="rId32" Type="http://schemas.openxmlformats.org/officeDocument/2006/relationships/tags" Target="../tags/tag579.xml"/><Relationship Id="rId53" Type="http://schemas.openxmlformats.org/officeDocument/2006/relationships/tags" Target="../tags/tag600.xml"/><Relationship Id="rId74" Type="http://schemas.openxmlformats.org/officeDocument/2006/relationships/tags" Target="../tags/tag621.xml"/><Relationship Id="rId128" Type="http://schemas.openxmlformats.org/officeDocument/2006/relationships/tags" Target="../tags/tag675.xml"/><Relationship Id="rId5" Type="http://schemas.openxmlformats.org/officeDocument/2006/relationships/tags" Target="../tags/tag552.xml"/><Relationship Id="rId90" Type="http://schemas.openxmlformats.org/officeDocument/2006/relationships/tags" Target="../tags/tag637.xml"/><Relationship Id="rId95" Type="http://schemas.openxmlformats.org/officeDocument/2006/relationships/tags" Target="../tags/tag642.xml"/><Relationship Id="rId22" Type="http://schemas.openxmlformats.org/officeDocument/2006/relationships/tags" Target="../tags/tag569.xml"/><Relationship Id="rId27" Type="http://schemas.openxmlformats.org/officeDocument/2006/relationships/tags" Target="../tags/tag574.xml"/><Relationship Id="rId43" Type="http://schemas.openxmlformats.org/officeDocument/2006/relationships/tags" Target="../tags/tag590.xml"/><Relationship Id="rId48" Type="http://schemas.openxmlformats.org/officeDocument/2006/relationships/tags" Target="../tags/tag595.xml"/><Relationship Id="rId64" Type="http://schemas.openxmlformats.org/officeDocument/2006/relationships/tags" Target="../tags/tag611.xml"/><Relationship Id="rId69" Type="http://schemas.openxmlformats.org/officeDocument/2006/relationships/tags" Target="../tags/tag616.xml"/><Relationship Id="rId113" Type="http://schemas.openxmlformats.org/officeDocument/2006/relationships/tags" Target="../tags/tag660.xml"/><Relationship Id="rId118" Type="http://schemas.openxmlformats.org/officeDocument/2006/relationships/tags" Target="../tags/tag665.xml"/><Relationship Id="rId134" Type="http://schemas.openxmlformats.org/officeDocument/2006/relationships/tags" Target="../tags/tag681.xml"/><Relationship Id="rId139" Type="http://schemas.openxmlformats.org/officeDocument/2006/relationships/tags" Target="../tags/tag686.xml"/><Relationship Id="rId80" Type="http://schemas.openxmlformats.org/officeDocument/2006/relationships/tags" Target="../tags/tag627.xml"/><Relationship Id="rId85" Type="http://schemas.openxmlformats.org/officeDocument/2006/relationships/tags" Target="../tags/tag632.xml"/><Relationship Id="rId12" Type="http://schemas.openxmlformats.org/officeDocument/2006/relationships/tags" Target="../tags/tag559.xml"/><Relationship Id="rId17" Type="http://schemas.openxmlformats.org/officeDocument/2006/relationships/tags" Target="../tags/tag564.xml"/><Relationship Id="rId33" Type="http://schemas.openxmlformats.org/officeDocument/2006/relationships/tags" Target="../tags/tag580.xml"/><Relationship Id="rId38" Type="http://schemas.openxmlformats.org/officeDocument/2006/relationships/tags" Target="../tags/tag585.xml"/><Relationship Id="rId59" Type="http://schemas.openxmlformats.org/officeDocument/2006/relationships/tags" Target="../tags/tag606.xml"/><Relationship Id="rId103" Type="http://schemas.openxmlformats.org/officeDocument/2006/relationships/tags" Target="../tags/tag650.xml"/><Relationship Id="rId108" Type="http://schemas.openxmlformats.org/officeDocument/2006/relationships/tags" Target="../tags/tag655.xml"/><Relationship Id="rId124" Type="http://schemas.openxmlformats.org/officeDocument/2006/relationships/tags" Target="../tags/tag671.xml"/><Relationship Id="rId129" Type="http://schemas.openxmlformats.org/officeDocument/2006/relationships/tags" Target="../tags/tag676.xml"/><Relationship Id="rId54" Type="http://schemas.openxmlformats.org/officeDocument/2006/relationships/tags" Target="../tags/tag601.xml"/><Relationship Id="rId70" Type="http://schemas.openxmlformats.org/officeDocument/2006/relationships/tags" Target="../tags/tag617.xml"/><Relationship Id="rId75" Type="http://schemas.openxmlformats.org/officeDocument/2006/relationships/tags" Target="../tags/tag622.xml"/><Relationship Id="rId91" Type="http://schemas.openxmlformats.org/officeDocument/2006/relationships/tags" Target="../tags/tag638.xml"/><Relationship Id="rId96" Type="http://schemas.openxmlformats.org/officeDocument/2006/relationships/tags" Target="../tags/tag643.xml"/><Relationship Id="rId140" Type="http://schemas.openxmlformats.org/officeDocument/2006/relationships/tags" Target="../tags/tag687.xml"/><Relationship Id="rId145" Type="http://schemas.openxmlformats.org/officeDocument/2006/relationships/chart" Target="../charts/chart18.xml"/><Relationship Id="rId1" Type="http://schemas.openxmlformats.org/officeDocument/2006/relationships/tags" Target="../tags/tag548.xml"/><Relationship Id="rId6" Type="http://schemas.openxmlformats.org/officeDocument/2006/relationships/tags" Target="../tags/tag553.xml"/><Relationship Id="rId23" Type="http://schemas.openxmlformats.org/officeDocument/2006/relationships/tags" Target="../tags/tag570.xml"/><Relationship Id="rId28" Type="http://schemas.openxmlformats.org/officeDocument/2006/relationships/tags" Target="../tags/tag575.xml"/><Relationship Id="rId49" Type="http://schemas.openxmlformats.org/officeDocument/2006/relationships/tags" Target="../tags/tag596.xml"/><Relationship Id="rId114" Type="http://schemas.openxmlformats.org/officeDocument/2006/relationships/tags" Target="../tags/tag661.xml"/><Relationship Id="rId119" Type="http://schemas.openxmlformats.org/officeDocument/2006/relationships/tags" Target="../tags/tag666.xml"/><Relationship Id="rId44" Type="http://schemas.openxmlformats.org/officeDocument/2006/relationships/tags" Target="../tags/tag591.xml"/><Relationship Id="rId60" Type="http://schemas.openxmlformats.org/officeDocument/2006/relationships/tags" Target="../tags/tag607.xml"/><Relationship Id="rId65" Type="http://schemas.openxmlformats.org/officeDocument/2006/relationships/tags" Target="../tags/tag612.xml"/><Relationship Id="rId81" Type="http://schemas.openxmlformats.org/officeDocument/2006/relationships/tags" Target="../tags/tag628.xml"/><Relationship Id="rId86" Type="http://schemas.openxmlformats.org/officeDocument/2006/relationships/tags" Target="../tags/tag633.xml"/><Relationship Id="rId130" Type="http://schemas.openxmlformats.org/officeDocument/2006/relationships/tags" Target="../tags/tag677.xml"/><Relationship Id="rId135" Type="http://schemas.openxmlformats.org/officeDocument/2006/relationships/tags" Target="../tags/tag682.xml"/><Relationship Id="rId13" Type="http://schemas.openxmlformats.org/officeDocument/2006/relationships/tags" Target="../tags/tag560.xml"/><Relationship Id="rId18" Type="http://schemas.openxmlformats.org/officeDocument/2006/relationships/tags" Target="../tags/tag565.xml"/><Relationship Id="rId39" Type="http://schemas.openxmlformats.org/officeDocument/2006/relationships/tags" Target="../tags/tag586.xml"/><Relationship Id="rId109" Type="http://schemas.openxmlformats.org/officeDocument/2006/relationships/tags" Target="../tags/tag656.xml"/><Relationship Id="rId34" Type="http://schemas.openxmlformats.org/officeDocument/2006/relationships/tags" Target="../tags/tag581.xml"/><Relationship Id="rId50" Type="http://schemas.openxmlformats.org/officeDocument/2006/relationships/tags" Target="../tags/tag597.xml"/><Relationship Id="rId55" Type="http://schemas.openxmlformats.org/officeDocument/2006/relationships/tags" Target="../tags/tag602.xml"/><Relationship Id="rId76" Type="http://schemas.openxmlformats.org/officeDocument/2006/relationships/tags" Target="../tags/tag623.xml"/><Relationship Id="rId97" Type="http://schemas.openxmlformats.org/officeDocument/2006/relationships/tags" Target="../tags/tag644.xml"/><Relationship Id="rId104" Type="http://schemas.openxmlformats.org/officeDocument/2006/relationships/tags" Target="../tags/tag651.xml"/><Relationship Id="rId120" Type="http://schemas.openxmlformats.org/officeDocument/2006/relationships/tags" Target="../tags/tag667.xml"/><Relationship Id="rId125" Type="http://schemas.openxmlformats.org/officeDocument/2006/relationships/tags" Target="../tags/tag672.xml"/><Relationship Id="rId141" Type="http://schemas.openxmlformats.org/officeDocument/2006/relationships/slideLayout" Target="../slideLayouts/slideLayout2.xml"/><Relationship Id="rId146" Type="http://schemas.openxmlformats.org/officeDocument/2006/relationships/chart" Target="../charts/chart19.xml"/><Relationship Id="rId7" Type="http://schemas.openxmlformats.org/officeDocument/2006/relationships/tags" Target="../tags/tag554.xml"/><Relationship Id="rId71" Type="http://schemas.openxmlformats.org/officeDocument/2006/relationships/tags" Target="../tags/tag618.xml"/><Relationship Id="rId92" Type="http://schemas.openxmlformats.org/officeDocument/2006/relationships/tags" Target="../tags/tag639.xml"/><Relationship Id="rId2" Type="http://schemas.openxmlformats.org/officeDocument/2006/relationships/tags" Target="../tags/tag549.xml"/><Relationship Id="rId29" Type="http://schemas.openxmlformats.org/officeDocument/2006/relationships/tags" Target="../tags/tag576.xml"/><Relationship Id="rId24" Type="http://schemas.openxmlformats.org/officeDocument/2006/relationships/tags" Target="../tags/tag571.xml"/><Relationship Id="rId40" Type="http://schemas.openxmlformats.org/officeDocument/2006/relationships/tags" Target="../tags/tag587.xml"/><Relationship Id="rId45" Type="http://schemas.openxmlformats.org/officeDocument/2006/relationships/tags" Target="../tags/tag592.xml"/><Relationship Id="rId66" Type="http://schemas.openxmlformats.org/officeDocument/2006/relationships/tags" Target="../tags/tag613.xml"/><Relationship Id="rId87" Type="http://schemas.openxmlformats.org/officeDocument/2006/relationships/tags" Target="../tags/tag634.xml"/><Relationship Id="rId110" Type="http://schemas.openxmlformats.org/officeDocument/2006/relationships/tags" Target="../tags/tag657.xml"/><Relationship Id="rId115" Type="http://schemas.openxmlformats.org/officeDocument/2006/relationships/tags" Target="../tags/tag662.xml"/><Relationship Id="rId131" Type="http://schemas.openxmlformats.org/officeDocument/2006/relationships/tags" Target="../tags/tag678.xml"/><Relationship Id="rId136" Type="http://schemas.openxmlformats.org/officeDocument/2006/relationships/tags" Target="../tags/tag683.xml"/><Relationship Id="rId61" Type="http://schemas.openxmlformats.org/officeDocument/2006/relationships/tags" Target="../tags/tag608.xml"/><Relationship Id="rId82" Type="http://schemas.openxmlformats.org/officeDocument/2006/relationships/tags" Target="../tags/tag629.xml"/><Relationship Id="rId19" Type="http://schemas.openxmlformats.org/officeDocument/2006/relationships/tags" Target="../tags/tag566.xml"/><Relationship Id="rId14" Type="http://schemas.openxmlformats.org/officeDocument/2006/relationships/tags" Target="../tags/tag561.xml"/><Relationship Id="rId30" Type="http://schemas.openxmlformats.org/officeDocument/2006/relationships/tags" Target="../tags/tag577.xml"/><Relationship Id="rId35" Type="http://schemas.openxmlformats.org/officeDocument/2006/relationships/tags" Target="../tags/tag582.xml"/><Relationship Id="rId56" Type="http://schemas.openxmlformats.org/officeDocument/2006/relationships/tags" Target="../tags/tag603.xml"/><Relationship Id="rId77" Type="http://schemas.openxmlformats.org/officeDocument/2006/relationships/tags" Target="../tags/tag624.xml"/><Relationship Id="rId100" Type="http://schemas.openxmlformats.org/officeDocument/2006/relationships/tags" Target="../tags/tag647.xml"/><Relationship Id="rId105" Type="http://schemas.openxmlformats.org/officeDocument/2006/relationships/tags" Target="../tags/tag652.xml"/><Relationship Id="rId126" Type="http://schemas.openxmlformats.org/officeDocument/2006/relationships/tags" Target="../tags/tag673.xml"/><Relationship Id="rId147" Type="http://schemas.openxmlformats.org/officeDocument/2006/relationships/chart" Target="../charts/chart20.xml"/><Relationship Id="rId8" Type="http://schemas.openxmlformats.org/officeDocument/2006/relationships/tags" Target="../tags/tag555.xml"/><Relationship Id="rId51" Type="http://schemas.openxmlformats.org/officeDocument/2006/relationships/tags" Target="../tags/tag598.xml"/><Relationship Id="rId72" Type="http://schemas.openxmlformats.org/officeDocument/2006/relationships/tags" Target="../tags/tag619.xml"/><Relationship Id="rId93" Type="http://schemas.openxmlformats.org/officeDocument/2006/relationships/tags" Target="../tags/tag640.xml"/><Relationship Id="rId98" Type="http://schemas.openxmlformats.org/officeDocument/2006/relationships/tags" Target="../tags/tag645.xml"/><Relationship Id="rId121" Type="http://schemas.openxmlformats.org/officeDocument/2006/relationships/tags" Target="../tags/tag668.xml"/><Relationship Id="rId142" Type="http://schemas.openxmlformats.org/officeDocument/2006/relationships/notesSlide" Target="../notesSlides/notesSlide6.xml"/><Relationship Id="rId3" Type="http://schemas.openxmlformats.org/officeDocument/2006/relationships/tags" Target="../tags/tag550.xml"/><Relationship Id="rId25" Type="http://schemas.openxmlformats.org/officeDocument/2006/relationships/tags" Target="../tags/tag572.xml"/><Relationship Id="rId46" Type="http://schemas.openxmlformats.org/officeDocument/2006/relationships/tags" Target="../tags/tag593.xml"/><Relationship Id="rId67" Type="http://schemas.openxmlformats.org/officeDocument/2006/relationships/tags" Target="../tags/tag614.xml"/><Relationship Id="rId116" Type="http://schemas.openxmlformats.org/officeDocument/2006/relationships/tags" Target="../tags/tag663.xml"/><Relationship Id="rId137" Type="http://schemas.openxmlformats.org/officeDocument/2006/relationships/tags" Target="../tags/tag684.xml"/><Relationship Id="rId20" Type="http://schemas.openxmlformats.org/officeDocument/2006/relationships/tags" Target="../tags/tag567.xml"/><Relationship Id="rId41" Type="http://schemas.openxmlformats.org/officeDocument/2006/relationships/tags" Target="../tags/tag588.xml"/><Relationship Id="rId62" Type="http://schemas.openxmlformats.org/officeDocument/2006/relationships/tags" Target="../tags/tag609.xml"/><Relationship Id="rId83" Type="http://schemas.openxmlformats.org/officeDocument/2006/relationships/tags" Target="../tags/tag630.xml"/><Relationship Id="rId88" Type="http://schemas.openxmlformats.org/officeDocument/2006/relationships/tags" Target="../tags/tag635.xml"/><Relationship Id="rId111" Type="http://schemas.openxmlformats.org/officeDocument/2006/relationships/tags" Target="../tags/tag658.xml"/><Relationship Id="rId132" Type="http://schemas.openxmlformats.org/officeDocument/2006/relationships/tags" Target="../tags/tag679.xml"/><Relationship Id="rId15" Type="http://schemas.openxmlformats.org/officeDocument/2006/relationships/tags" Target="../tags/tag562.xml"/><Relationship Id="rId36" Type="http://schemas.openxmlformats.org/officeDocument/2006/relationships/tags" Target="../tags/tag583.xml"/><Relationship Id="rId57" Type="http://schemas.openxmlformats.org/officeDocument/2006/relationships/tags" Target="../tags/tag604.xml"/><Relationship Id="rId106" Type="http://schemas.openxmlformats.org/officeDocument/2006/relationships/tags" Target="../tags/tag653.xml"/><Relationship Id="rId127" Type="http://schemas.openxmlformats.org/officeDocument/2006/relationships/tags" Target="../tags/tag674.xml"/><Relationship Id="rId10" Type="http://schemas.openxmlformats.org/officeDocument/2006/relationships/tags" Target="../tags/tag557.xml"/><Relationship Id="rId31" Type="http://schemas.openxmlformats.org/officeDocument/2006/relationships/tags" Target="../tags/tag578.xml"/><Relationship Id="rId52" Type="http://schemas.openxmlformats.org/officeDocument/2006/relationships/tags" Target="../tags/tag599.xml"/><Relationship Id="rId73" Type="http://schemas.openxmlformats.org/officeDocument/2006/relationships/tags" Target="../tags/tag620.xml"/><Relationship Id="rId78" Type="http://schemas.openxmlformats.org/officeDocument/2006/relationships/tags" Target="../tags/tag625.xml"/><Relationship Id="rId94" Type="http://schemas.openxmlformats.org/officeDocument/2006/relationships/tags" Target="../tags/tag641.xml"/><Relationship Id="rId99" Type="http://schemas.openxmlformats.org/officeDocument/2006/relationships/tags" Target="../tags/tag646.xml"/><Relationship Id="rId101" Type="http://schemas.openxmlformats.org/officeDocument/2006/relationships/tags" Target="../tags/tag648.xml"/><Relationship Id="rId122" Type="http://schemas.openxmlformats.org/officeDocument/2006/relationships/tags" Target="../tags/tag669.xml"/><Relationship Id="rId143" Type="http://schemas.openxmlformats.org/officeDocument/2006/relationships/oleObject" Target="../embeddings/oleObject7.bin"/><Relationship Id="rId148" Type="http://schemas.openxmlformats.org/officeDocument/2006/relationships/chart" Target="../charts/chart21.xml"/><Relationship Id="rId4" Type="http://schemas.openxmlformats.org/officeDocument/2006/relationships/tags" Target="../tags/tag551.xml"/><Relationship Id="rId9" Type="http://schemas.openxmlformats.org/officeDocument/2006/relationships/tags" Target="../tags/tag556.xml"/><Relationship Id="rId26" Type="http://schemas.openxmlformats.org/officeDocument/2006/relationships/tags" Target="../tags/tag573.xml"/><Relationship Id="rId47" Type="http://schemas.openxmlformats.org/officeDocument/2006/relationships/tags" Target="../tags/tag594.xml"/><Relationship Id="rId68" Type="http://schemas.openxmlformats.org/officeDocument/2006/relationships/tags" Target="../tags/tag615.xml"/><Relationship Id="rId89" Type="http://schemas.openxmlformats.org/officeDocument/2006/relationships/tags" Target="../tags/tag636.xml"/><Relationship Id="rId112" Type="http://schemas.openxmlformats.org/officeDocument/2006/relationships/tags" Target="../tags/tag659.xml"/><Relationship Id="rId133" Type="http://schemas.openxmlformats.org/officeDocument/2006/relationships/tags" Target="../tags/tag680.xml"/><Relationship Id="rId16" Type="http://schemas.openxmlformats.org/officeDocument/2006/relationships/tags" Target="../tags/tag563.xml"/><Relationship Id="rId37" Type="http://schemas.openxmlformats.org/officeDocument/2006/relationships/tags" Target="../tags/tag584.xml"/><Relationship Id="rId58" Type="http://schemas.openxmlformats.org/officeDocument/2006/relationships/tags" Target="../tags/tag605.xml"/><Relationship Id="rId79" Type="http://schemas.openxmlformats.org/officeDocument/2006/relationships/tags" Target="../tags/tag626.xml"/><Relationship Id="rId102" Type="http://schemas.openxmlformats.org/officeDocument/2006/relationships/tags" Target="../tags/tag649.xml"/><Relationship Id="rId123" Type="http://schemas.openxmlformats.org/officeDocument/2006/relationships/tags" Target="../tags/tag670.xml"/><Relationship Id="rId14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804.xml"/><Relationship Id="rId21" Type="http://schemas.openxmlformats.org/officeDocument/2006/relationships/tags" Target="../tags/tag708.xml"/><Relationship Id="rId42" Type="http://schemas.openxmlformats.org/officeDocument/2006/relationships/tags" Target="../tags/tag729.xml"/><Relationship Id="rId63" Type="http://schemas.openxmlformats.org/officeDocument/2006/relationships/tags" Target="../tags/tag750.xml"/><Relationship Id="rId84" Type="http://schemas.openxmlformats.org/officeDocument/2006/relationships/tags" Target="../tags/tag771.xml"/><Relationship Id="rId138" Type="http://schemas.openxmlformats.org/officeDocument/2006/relationships/tags" Target="../tags/tag825.xml"/><Relationship Id="rId107" Type="http://schemas.openxmlformats.org/officeDocument/2006/relationships/tags" Target="../tags/tag794.xml"/><Relationship Id="rId11" Type="http://schemas.openxmlformats.org/officeDocument/2006/relationships/tags" Target="../tags/tag698.xml"/><Relationship Id="rId32" Type="http://schemas.openxmlformats.org/officeDocument/2006/relationships/tags" Target="../tags/tag719.xml"/><Relationship Id="rId53" Type="http://schemas.openxmlformats.org/officeDocument/2006/relationships/tags" Target="../tags/tag740.xml"/><Relationship Id="rId74" Type="http://schemas.openxmlformats.org/officeDocument/2006/relationships/tags" Target="../tags/tag761.xml"/><Relationship Id="rId128" Type="http://schemas.openxmlformats.org/officeDocument/2006/relationships/tags" Target="../tags/tag815.xml"/><Relationship Id="rId149" Type="http://schemas.openxmlformats.org/officeDocument/2006/relationships/chart" Target="../charts/chart23.xml"/><Relationship Id="rId5" Type="http://schemas.openxmlformats.org/officeDocument/2006/relationships/tags" Target="../tags/tag692.xml"/><Relationship Id="rId95" Type="http://schemas.openxmlformats.org/officeDocument/2006/relationships/tags" Target="../tags/tag782.xml"/><Relationship Id="rId22" Type="http://schemas.openxmlformats.org/officeDocument/2006/relationships/tags" Target="../tags/tag709.xml"/><Relationship Id="rId27" Type="http://schemas.openxmlformats.org/officeDocument/2006/relationships/tags" Target="../tags/tag714.xml"/><Relationship Id="rId43" Type="http://schemas.openxmlformats.org/officeDocument/2006/relationships/tags" Target="../tags/tag730.xml"/><Relationship Id="rId48" Type="http://schemas.openxmlformats.org/officeDocument/2006/relationships/tags" Target="../tags/tag735.xml"/><Relationship Id="rId64" Type="http://schemas.openxmlformats.org/officeDocument/2006/relationships/tags" Target="../tags/tag751.xml"/><Relationship Id="rId69" Type="http://schemas.openxmlformats.org/officeDocument/2006/relationships/tags" Target="../tags/tag756.xml"/><Relationship Id="rId113" Type="http://schemas.openxmlformats.org/officeDocument/2006/relationships/tags" Target="../tags/tag800.xml"/><Relationship Id="rId118" Type="http://schemas.openxmlformats.org/officeDocument/2006/relationships/tags" Target="../tags/tag805.xml"/><Relationship Id="rId134" Type="http://schemas.openxmlformats.org/officeDocument/2006/relationships/tags" Target="../tags/tag821.xml"/><Relationship Id="rId139" Type="http://schemas.openxmlformats.org/officeDocument/2006/relationships/tags" Target="../tags/tag826.xml"/><Relationship Id="rId80" Type="http://schemas.openxmlformats.org/officeDocument/2006/relationships/tags" Target="../tags/tag767.xml"/><Relationship Id="rId85" Type="http://schemas.openxmlformats.org/officeDocument/2006/relationships/tags" Target="../tags/tag772.xml"/><Relationship Id="rId150" Type="http://schemas.openxmlformats.org/officeDocument/2006/relationships/chart" Target="../charts/chart24.xml"/><Relationship Id="rId12" Type="http://schemas.openxmlformats.org/officeDocument/2006/relationships/tags" Target="../tags/tag699.xml"/><Relationship Id="rId17" Type="http://schemas.openxmlformats.org/officeDocument/2006/relationships/tags" Target="../tags/tag704.xml"/><Relationship Id="rId33" Type="http://schemas.openxmlformats.org/officeDocument/2006/relationships/tags" Target="../tags/tag720.xml"/><Relationship Id="rId38" Type="http://schemas.openxmlformats.org/officeDocument/2006/relationships/tags" Target="../tags/tag725.xml"/><Relationship Id="rId59" Type="http://schemas.openxmlformats.org/officeDocument/2006/relationships/tags" Target="../tags/tag746.xml"/><Relationship Id="rId103" Type="http://schemas.openxmlformats.org/officeDocument/2006/relationships/tags" Target="../tags/tag790.xml"/><Relationship Id="rId108" Type="http://schemas.openxmlformats.org/officeDocument/2006/relationships/tags" Target="../tags/tag795.xml"/><Relationship Id="rId124" Type="http://schemas.openxmlformats.org/officeDocument/2006/relationships/tags" Target="../tags/tag811.xml"/><Relationship Id="rId129" Type="http://schemas.openxmlformats.org/officeDocument/2006/relationships/tags" Target="../tags/tag816.xml"/><Relationship Id="rId54" Type="http://schemas.openxmlformats.org/officeDocument/2006/relationships/tags" Target="../tags/tag741.xml"/><Relationship Id="rId70" Type="http://schemas.openxmlformats.org/officeDocument/2006/relationships/tags" Target="../tags/tag757.xml"/><Relationship Id="rId75" Type="http://schemas.openxmlformats.org/officeDocument/2006/relationships/tags" Target="../tags/tag762.xml"/><Relationship Id="rId91" Type="http://schemas.openxmlformats.org/officeDocument/2006/relationships/tags" Target="../tags/tag778.xml"/><Relationship Id="rId96" Type="http://schemas.openxmlformats.org/officeDocument/2006/relationships/tags" Target="../tags/tag783.xml"/><Relationship Id="rId140" Type="http://schemas.openxmlformats.org/officeDocument/2006/relationships/tags" Target="../tags/tag827.xml"/><Relationship Id="rId145" Type="http://schemas.openxmlformats.org/officeDocument/2006/relationships/notesSlide" Target="../notesSlides/notesSlide7.xml"/><Relationship Id="rId1" Type="http://schemas.openxmlformats.org/officeDocument/2006/relationships/tags" Target="../tags/tag688.xml"/><Relationship Id="rId6" Type="http://schemas.openxmlformats.org/officeDocument/2006/relationships/tags" Target="../tags/tag693.xml"/><Relationship Id="rId23" Type="http://schemas.openxmlformats.org/officeDocument/2006/relationships/tags" Target="../tags/tag710.xml"/><Relationship Id="rId28" Type="http://schemas.openxmlformats.org/officeDocument/2006/relationships/tags" Target="../tags/tag715.xml"/><Relationship Id="rId49" Type="http://schemas.openxmlformats.org/officeDocument/2006/relationships/tags" Target="../tags/tag736.xml"/><Relationship Id="rId114" Type="http://schemas.openxmlformats.org/officeDocument/2006/relationships/tags" Target="../tags/tag801.xml"/><Relationship Id="rId119" Type="http://schemas.openxmlformats.org/officeDocument/2006/relationships/tags" Target="../tags/tag806.xml"/><Relationship Id="rId44" Type="http://schemas.openxmlformats.org/officeDocument/2006/relationships/tags" Target="../tags/tag731.xml"/><Relationship Id="rId60" Type="http://schemas.openxmlformats.org/officeDocument/2006/relationships/tags" Target="../tags/tag747.xml"/><Relationship Id="rId65" Type="http://schemas.openxmlformats.org/officeDocument/2006/relationships/tags" Target="../tags/tag752.xml"/><Relationship Id="rId81" Type="http://schemas.openxmlformats.org/officeDocument/2006/relationships/tags" Target="../tags/tag768.xml"/><Relationship Id="rId86" Type="http://schemas.openxmlformats.org/officeDocument/2006/relationships/tags" Target="../tags/tag773.xml"/><Relationship Id="rId130" Type="http://schemas.openxmlformats.org/officeDocument/2006/relationships/tags" Target="../tags/tag817.xml"/><Relationship Id="rId135" Type="http://schemas.openxmlformats.org/officeDocument/2006/relationships/tags" Target="../tags/tag822.xml"/><Relationship Id="rId151" Type="http://schemas.openxmlformats.org/officeDocument/2006/relationships/chart" Target="../charts/chart25.xml"/><Relationship Id="rId13" Type="http://schemas.openxmlformats.org/officeDocument/2006/relationships/tags" Target="../tags/tag700.xml"/><Relationship Id="rId18" Type="http://schemas.openxmlformats.org/officeDocument/2006/relationships/tags" Target="../tags/tag705.xml"/><Relationship Id="rId39" Type="http://schemas.openxmlformats.org/officeDocument/2006/relationships/tags" Target="../tags/tag726.xml"/><Relationship Id="rId109" Type="http://schemas.openxmlformats.org/officeDocument/2006/relationships/tags" Target="../tags/tag796.xml"/><Relationship Id="rId34" Type="http://schemas.openxmlformats.org/officeDocument/2006/relationships/tags" Target="../tags/tag721.xml"/><Relationship Id="rId50" Type="http://schemas.openxmlformats.org/officeDocument/2006/relationships/tags" Target="../tags/tag737.xml"/><Relationship Id="rId55" Type="http://schemas.openxmlformats.org/officeDocument/2006/relationships/tags" Target="../tags/tag742.xml"/><Relationship Id="rId76" Type="http://schemas.openxmlformats.org/officeDocument/2006/relationships/tags" Target="../tags/tag763.xml"/><Relationship Id="rId97" Type="http://schemas.openxmlformats.org/officeDocument/2006/relationships/tags" Target="../tags/tag784.xml"/><Relationship Id="rId104" Type="http://schemas.openxmlformats.org/officeDocument/2006/relationships/tags" Target="../tags/tag791.xml"/><Relationship Id="rId120" Type="http://schemas.openxmlformats.org/officeDocument/2006/relationships/tags" Target="../tags/tag807.xml"/><Relationship Id="rId125" Type="http://schemas.openxmlformats.org/officeDocument/2006/relationships/tags" Target="../tags/tag812.xml"/><Relationship Id="rId141" Type="http://schemas.openxmlformats.org/officeDocument/2006/relationships/tags" Target="../tags/tag828.xml"/><Relationship Id="rId146" Type="http://schemas.openxmlformats.org/officeDocument/2006/relationships/oleObject" Target="../embeddings/oleObject8.bin"/><Relationship Id="rId7" Type="http://schemas.openxmlformats.org/officeDocument/2006/relationships/tags" Target="../tags/tag694.xml"/><Relationship Id="rId71" Type="http://schemas.openxmlformats.org/officeDocument/2006/relationships/tags" Target="../tags/tag758.xml"/><Relationship Id="rId92" Type="http://schemas.openxmlformats.org/officeDocument/2006/relationships/tags" Target="../tags/tag779.xml"/><Relationship Id="rId2" Type="http://schemas.openxmlformats.org/officeDocument/2006/relationships/tags" Target="../tags/tag689.xml"/><Relationship Id="rId29" Type="http://schemas.openxmlformats.org/officeDocument/2006/relationships/tags" Target="../tags/tag716.xml"/><Relationship Id="rId24" Type="http://schemas.openxmlformats.org/officeDocument/2006/relationships/tags" Target="../tags/tag711.xml"/><Relationship Id="rId40" Type="http://schemas.openxmlformats.org/officeDocument/2006/relationships/tags" Target="../tags/tag727.xml"/><Relationship Id="rId45" Type="http://schemas.openxmlformats.org/officeDocument/2006/relationships/tags" Target="../tags/tag732.xml"/><Relationship Id="rId66" Type="http://schemas.openxmlformats.org/officeDocument/2006/relationships/tags" Target="../tags/tag753.xml"/><Relationship Id="rId87" Type="http://schemas.openxmlformats.org/officeDocument/2006/relationships/tags" Target="../tags/tag774.xml"/><Relationship Id="rId110" Type="http://schemas.openxmlformats.org/officeDocument/2006/relationships/tags" Target="../tags/tag797.xml"/><Relationship Id="rId115" Type="http://schemas.openxmlformats.org/officeDocument/2006/relationships/tags" Target="../tags/tag802.xml"/><Relationship Id="rId131" Type="http://schemas.openxmlformats.org/officeDocument/2006/relationships/tags" Target="../tags/tag818.xml"/><Relationship Id="rId136" Type="http://schemas.openxmlformats.org/officeDocument/2006/relationships/tags" Target="../tags/tag823.xml"/><Relationship Id="rId61" Type="http://schemas.openxmlformats.org/officeDocument/2006/relationships/tags" Target="../tags/tag748.xml"/><Relationship Id="rId82" Type="http://schemas.openxmlformats.org/officeDocument/2006/relationships/tags" Target="../tags/tag769.xml"/><Relationship Id="rId19" Type="http://schemas.openxmlformats.org/officeDocument/2006/relationships/tags" Target="../tags/tag706.xml"/><Relationship Id="rId14" Type="http://schemas.openxmlformats.org/officeDocument/2006/relationships/tags" Target="../tags/tag701.xml"/><Relationship Id="rId30" Type="http://schemas.openxmlformats.org/officeDocument/2006/relationships/tags" Target="../tags/tag717.xml"/><Relationship Id="rId35" Type="http://schemas.openxmlformats.org/officeDocument/2006/relationships/tags" Target="../tags/tag722.xml"/><Relationship Id="rId56" Type="http://schemas.openxmlformats.org/officeDocument/2006/relationships/tags" Target="../tags/tag743.xml"/><Relationship Id="rId77" Type="http://schemas.openxmlformats.org/officeDocument/2006/relationships/tags" Target="../tags/tag764.xml"/><Relationship Id="rId100" Type="http://schemas.openxmlformats.org/officeDocument/2006/relationships/tags" Target="../tags/tag787.xml"/><Relationship Id="rId105" Type="http://schemas.openxmlformats.org/officeDocument/2006/relationships/tags" Target="../tags/tag792.xml"/><Relationship Id="rId126" Type="http://schemas.openxmlformats.org/officeDocument/2006/relationships/tags" Target="../tags/tag813.xml"/><Relationship Id="rId147" Type="http://schemas.openxmlformats.org/officeDocument/2006/relationships/image" Target="../media/image5.emf"/><Relationship Id="rId8" Type="http://schemas.openxmlformats.org/officeDocument/2006/relationships/tags" Target="../tags/tag695.xml"/><Relationship Id="rId51" Type="http://schemas.openxmlformats.org/officeDocument/2006/relationships/tags" Target="../tags/tag738.xml"/><Relationship Id="rId72" Type="http://schemas.openxmlformats.org/officeDocument/2006/relationships/tags" Target="../tags/tag759.xml"/><Relationship Id="rId93" Type="http://schemas.openxmlformats.org/officeDocument/2006/relationships/tags" Target="../tags/tag780.xml"/><Relationship Id="rId98" Type="http://schemas.openxmlformats.org/officeDocument/2006/relationships/tags" Target="../tags/tag785.xml"/><Relationship Id="rId121" Type="http://schemas.openxmlformats.org/officeDocument/2006/relationships/tags" Target="../tags/tag808.xml"/><Relationship Id="rId142" Type="http://schemas.openxmlformats.org/officeDocument/2006/relationships/tags" Target="../tags/tag829.xml"/><Relationship Id="rId3" Type="http://schemas.openxmlformats.org/officeDocument/2006/relationships/tags" Target="../tags/tag690.xml"/><Relationship Id="rId25" Type="http://schemas.openxmlformats.org/officeDocument/2006/relationships/tags" Target="../tags/tag712.xml"/><Relationship Id="rId46" Type="http://schemas.openxmlformats.org/officeDocument/2006/relationships/tags" Target="../tags/tag733.xml"/><Relationship Id="rId67" Type="http://schemas.openxmlformats.org/officeDocument/2006/relationships/tags" Target="../tags/tag754.xml"/><Relationship Id="rId116" Type="http://schemas.openxmlformats.org/officeDocument/2006/relationships/tags" Target="../tags/tag803.xml"/><Relationship Id="rId137" Type="http://schemas.openxmlformats.org/officeDocument/2006/relationships/tags" Target="../tags/tag824.xml"/><Relationship Id="rId20" Type="http://schemas.openxmlformats.org/officeDocument/2006/relationships/tags" Target="../tags/tag707.xml"/><Relationship Id="rId41" Type="http://schemas.openxmlformats.org/officeDocument/2006/relationships/tags" Target="../tags/tag728.xml"/><Relationship Id="rId62" Type="http://schemas.openxmlformats.org/officeDocument/2006/relationships/tags" Target="../tags/tag749.xml"/><Relationship Id="rId83" Type="http://schemas.openxmlformats.org/officeDocument/2006/relationships/tags" Target="../tags/tag770.xml"/><Relationship Id="rId88" Type="http://schemas.openxmlformats.org/officeDocument/2006/relationships/tags" Target="../tags/tag775.xml"/><Relationship Id="rId111" Type="http://schemas.openxmlformats.org/officeDocument/2006/relationships/tags" Target="../tags/tag798.xml"/><Relationship Id="rId132" Type="http://schemas.openxmlformats.org/officeDocument/2006/relationships/tags" Target="../tags/tag819.xml"/><Relationship Id="rId15" Type="http://schemas.openxmlformats.org/officeDocument/2006/relationships/tags" Target="../tags/tag702.xml"/><Relationship Id="rId36" Type="http://schemas.openxmlformats.org/officeDocument/2006/relationships/tags" Target="../tags/tag723.xml"/><Relationship Id="rId57" Type="http://schemas.openxmlformats.org/officeDocument/2006/relationships/tags" Target="../tags/tag744.xml"/><Relationship Id="rId106" Type="http://schemas.openxmlformats.org/officeDocument/2006/relationships/tags" Target="../tags/tag793.xml"/><Relationship Id="rId127" Type="http://schemas.openxmlformats.org/officeDocument/2006/relationships/tags" Target="../tags/tag814.xml"/><Relationship Id="rId10" Type="http://schemas.openxmlformats.org/officeDocument/2006/relationships/tags" Target="../tags/tag697.xml"/><Relationship Id="rId31" Type="http://schemas.openxmlformats.org/officeDocument/2006/relationships/tags" Target="../tags/tag718.xml"/><Relationship Id="rId52" Type="http://schemas.openxmlformats.org/officeDocument/2006/relationships/tags" Target="../tags/tag739.xml"/><Relationship Id="rId73" Type="http://schemas.openxmlformats.org/officeDocument/2006/relationships/tags" Target="../tags/tag760.xml"/><Relationship Id="rId78" Type="http://schemas.openxmlformats.org/officeDocument/2006/relationships/tags" Target="../tags/tag765.xml"/><Relationship Id="rId94" Type="http://schemas.openxmlformats.org/officeDocument/2006/relationships/tags" Target="../tags/tag781.xml"/><Relationship Id="rId99" Type="http://schemas.openxmlformats.org/officeDocument/2006/relationships/tags" Target="../tags/tag786.xml"/><Relationship Id="rId101" Type="http://schemas.openxmlformats.org/officeDocument/2006/relationships/tags" Target="../tags/tag788.xml"/><Relationship Id="rId122" Type="http://schemas.openxmlformats.org/officeDocument/2006/relationships/tags" Target="../tags/tag809.xml"/><Relationship Id="rId143" Type="http://schemas.openxmlformats.org/officeDocument/2006/relationships/tags" Target="../tags/tag830.xml"/><Relationship Id="rId148" Type="http://schemas.openxmlformats.org/officeDocument/2006/relationships/chart" Target="../charts/chart22.xml"/><Relationship Id="rId4" Type="http://schemas.openxmlformats.org/officeDocument/2006/relationships/tags" Target="../tags/tag691.xml"/><Relationship Id="rId9" Type="http://schemas.openxmlformats.org/officeDocument/2006/relationships/tags" Target="../tags/tag696.xml"/><Relationship Id="rId26" Type="http://schemas.openxmlformats.org/officeDocument/2006/relationships/tags" Target="../tags/tag713.xml"/><Relationship Id="rId47" Type="http://schemas.openxmlformats.org/officeDocument/2006/relationships/tags" Target="../tags/tag734.xml"/><Relationship Id="rId68" Type="http://schemas.openxmlformats.org/officeDocument/2006/relationships/tags" Target="../tags/tag755.xml"/><Relationship Id="rId89" Type="http://schemas.openxmlformats.org/officeDocument/2006/relationships/tags" Target="../tags/tag776.xml"/><Relationship Id="rId112" Type="http://schemas.openxmlformats.org/officeDocument/2006/relationships/tags" Target="../tags/tag799.xml"/><Relationship Id="rId133" Type="http://schemas.openxmlformats.org/officeDocument/2006/relationships/tags" Target="../tags/tag820.xml"/><Relationship Id="rId16" Type="http://schemas.openxmlformats.org/officeDocument/2006/relationships/tags" Target="../tags/tag703.xml"/><Relationship Id="rId37" Type="http://schemas.openxmlformats.org/officeDocument/2006/relationships/tags" Target="../tags/tag724.xml"/><Relationship Id="rId58" Type="http://schemas.openxmlformats.org/officeDocument/2006/relationships/tags" Target="../tags/tag745.xml"/><Relationship Id="rId79" Type="http://schemas.openxmlformats.org/officeDocument/2006/relationships/tags" Target="../tags/tag766.xml"/><Relationship Id="rId102" Type="http://schemas.openxmlformats.org/officeDocument/2006/relationships/tags" Target="../tags/tag789.xml"/><Relationship Id="rId123" Type="http://schemas.openxmlformats.org/officeDocument/2006/relationships/tags" Target="../tags/tag810.xml"/><Relationship Id="rId144" Type="http://schemas.openxmlformats.org/officeDocument/2006/relationships/slideLayout" Target="../slideLayouts/slideLayout2.xml"/><Relationship Id="rId90" Type="http://schemas.openxmlformats.org/officeDocument/2006/relationships/tags" Target="../tags/tag777.xml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947.xml"/><Relationship Id="rId21" Type="http://schemas.openxmlformats.org/officeDocument/2006/relationships/tags" Target="../tags/tag851.xml"/><Relationship Id="rId42" Type="http://schemas.openxmlformats.org/officeDocument/2006/relationships/tags" Target="../tags/tag872.xml"/><Relationship Id="rId63" Type="http://schemas.openxmlformats.org/officeDocument/2006/relationships/tags" Target="../tags/tag893.xml"/><Relationship Id="rId84" Type="http://schemas.openxmlformats.org/officeDocument/2006/relationships/tags" Target="../tags/tag914.xml"/><Relationship Id="rId138" Type="http://schemas.openxmlformats.org/officeDocument/2006/relationships/tags" Target="../tags/tag968.xml"/><Relationship Id="rId107" Type="http://schemas.openxmlformats.org/officeDocument/2006/relationships/tags" Target="../tags/tag937.xml"/><Relationship Id="rId11" Type="http://schemas.openxmlformats.org/officeDocument/2006/relationships/tags" Target="../tags/tag841.xml"/><Relationship Id="rId32" Type="http://schemas.openxmlformats.org/officeDocument/2006/relationships/tags" Target="../tags/tag862.xml"/><Relationship Id="rId53" Type="http://schemas.openxmlformats.org/officeDocument/2006/relationships/tags" Target="../tags/tag883.xml"/><Relationship Id="rId74" Type="http://schemas.openxmlformats.org/officeDocument/2006/relationships/tags" Target="../tags/tag904.xml"/><Relationship Id="rId128" Type="http://schemas.openxmlformats.org/officeDocument/2006/relationships/tags" Target="../tags/tag958.xml"/><Relationship Id="rId149" Type="http://schemas.openxmlformats.org/officeDocument/2006/relationships/chart" Target="../charts/chart27.xml"/><Relationship Id="rId5" Type="http://schemas.openxmlformats.org/officeDocument/2006/relationships/tags" Target="../tags/tag835.xml"/><Relationship Id="rId95" Type="http://schemas.openxmlformats.org/officeDocument/2006/relationships/tags" Target="../tags/tag925.xml"/><Relationship Id="rId22" Type="http://schemas.openxmlformats.org/officeDocument/2006/relationships/tags" Target="../tags/tag852.xml"/><Relationship Id="rId27" Type="http://schemas.openxmlformats.org/officeDocument/2006/relationships/tags" Target="../tags/tag857.xml"/><Relationship Id="rId43" Type="http://schemas.openxmlformats.org/officeDocument/2006/relationships/tags" Target="../tags/tag873.xml"/><Relationship Id="rId48" Type="http://schemas.openxmlformats.org/officeDocument/2006/relationships/tags" Target="../tags/tag878.xml"/><Relationship Id="rId64" Type="http://schemas.openxmlformats.org/officeDocument/2006/relationships/tags" Target="../tags/tag894.xml"/><Relationship Id="rId69" Type="http://schemas.openxmlformats.org/officeDocument/2006/relationships/tags" Target="../tags/tag899.xml"/><Relationship Id="rId113" Type="http://schemas.openxmlformats.org/officeDocument/2006/relationships/tags" Target="../tags/tag943.xml"/><Relationship Id="rId118" Type="http://schemas.openxmlformats.org/officeDocument/2006/relationships/tags" Target="../tags/tag948.xml"/><Relationship Id="rId134" Type="http://schemas.openxmlformats.org/officeDocument/2006/relationships/tags" Target="../tags/tag964.xml"/><Relationship Id="rId139" Type="http://schemas.openxmlformats.org/officeDocument/2006/relationships/tags" Target="../tags/tag969.xml"/><Relationship Id="rId80" Type="http://schemas.openxmlformats.org/officeDocument/2006/relationships/tags" Target="../tags/tag910.xml"/><Relationship Id="rId85" Type="http://schemas.openxmlformats.org/officeDocument/2006/relationships/tags" Target="../tags/tag915.xml"/><Relationship Id="rId150" Type="http://schemas.openxmlformats.org/officeDocument/2006/relationships/chart" Target="../charts/chart28.xml"/><Relationship Id="rId12" Type="http://schemas.openxmlformats.org/officeDocument/2006/relationships/tags" Target="../tags/tag842.xml"/><Relationship Id="rId17" Type="http://schemas.openxmlformats.org/officeDocument/2006/relationships/tags" Target="../tags/tag847.xml"/><Relationship Id="rId33" Type="http://schemas.openxmlformats.org/officeDocument/2006/relationships/tags" Target="../tags/tag863.xml"/><Relationship Id="rId38" Type="http://schemas.openxmlformats.org/officeDocument/2006/relationships/tags" Target="../tags/tag868.xml"/><Relationship Id="rId59" Type="http://schemas.openxmlformats.org/officeDocument/2006/relationships/tags" Target="../tags/tag889.xml"/><Relationship Id="rId103" Type="http://schemas.openxmlformats.org/officeDocument/2006/relationships/tags" Target="../tags/tag933.xml"/><Relationship Id="rId108" Type="http://schemas.openxmlformats.org/officeDocument/2006/relationships/tags" Target="../tags/tag938.xml"/><Relationship Id="rId124" Type="http://schemas.openxmlformats.org/officeDocument/2006/relationships/tags" Target="../tags/tag954.xml"/><Relationship Id="rId129" Type="http://schemas.openxmlformats.org/officeDocument/2006/relationships/tags" Target="../tags/tag959.xml"/><Relationship Id="rId54" Type="http://schemas.openxmlformats.org/officeDocument/2006/relationships/tags" Target="../tags/tag884.xml"/><Relationship Id="rId70" Type="http://schemas.openxmlformats.org/officeDocument/2006/relationships/tags" Target="../tags/tag900.xml"/><Relationship Id="rId75" Type="http://schemas.openxmlformats.org/officeDocument/2006/relationships/tags" Target="../tags/tag905.xml"/><Relationship Id="rId91" Type="http://schemas.openxmlformats.org/officeDocument/2006/relationships/tags" Target="../tags/tag921.xml"/><Relationship Id="rId96" Type="http://schemas.openxmlformats.org/officeDocument/2006/relationships/tags" Target="../tags/tag926.xml"/><Relationship Id="rId140" Type="http://schemas.openxmlformats.org/officeDocument/2006/relationships/tags" Target="../tags/tag970.xml"/><Relationship Id="rId145" Type="http://schemas.openxmlformats.org/officeDocument/2006/relationships/notesSlide" Target="../notesSlides/notesSlide8.xml"/><Relationship Id="rId1" Type="http://schemas.openxmlformats.org/officeDocument/2006/relationships/tags" Target="../tags/tag831.xml"/><Relationship Id="rId6" Type="http://schemas.openxmlformats.org/officeDocument/2006/relationships/tags" Target="../tags/tag836.xml"/><Relationship Id="rId23" Type="http://schemas.openxmlformats.org/officeDocument/2006/relationships/tags" Target="../tags/tag853.xml"/><Relationship Id="rId28" Type="http://schemas.openxmlformats.org/officeDocument/2006/relationships/tags" Target="../tags/tag858.xml"/><Relationship Id="rId49" Type="http://schemas.openxmlformats.org/officeDocument/2006/relationships/tags" Target="../tags/tag879.xml"/><Relationship Id="rId114" Type="http://schemas.openxmlformats.org/officeDocument/2006/relationships/tags" Target="../tags/tag944.xml"/><Relationship Id="rId119" Type="http://schemas.openxmlformats.org/officeDocument/2006/relationships/tags" Target="../tags/tag949.xml"/><Relationship Id="rId44" Type="http://schemas.openxmlformats.org/officeDocument/2006/relationships/tags" Target="../tags/tag874.xml"/><Relationship Id="rId60" Type="http://schemas.openxmlformats.org/officeDocument/2006/relationships/tags" Target="../tags/tag890.xml"/><Relationship Id="rId65" Type="http://schemas.openxmlformats.org/officeDocument/2006/relationships/tags" Target="../tags/tag895.xml"/><Relationship Id="rId81" Type="http://schemas.openxmlformats.org/officeDocument/2006/relationships/tags" Target="../tags/tag911.xml"/><Relationship Id="rId86" Type="http://schemas.openxmlformats.org/officeDocument/2006/relationships/tags" Target="../tags/tag916.xml"/><Relationship Id="rId130" Type="http://schemas.openxmlformats.org/officeDocument/2006/relationships/tags" Target="../tags/tag960.xml"/><Relationship Id="rId135" Type="http://schemas.openxmlformats.org/officeDocument/2006/relationships/tags" Target="../tags/tag965.xml"/><Relationship Id="rId151" Type="http://schemas.openxmlformats.org/officeDocument/2006/relationships/chart" Target="../charts/chart29.xml"/><Relationship Id="rId13" Type="http://schemas.openxmlformats.org/officeDocument/2006/relationships/tags" Target="../tags/tag843.xml"/><Relationship Id="rId18" Type="http://schemas.openxmlformats.org/officeDocument/2006/relationships/tags" Target="../tags/tag848.xml"/><Relationship Id="rId39" Type="http://schemas.openxmlformats.org/officeDocument/2006/relationships/tags" Target="../tags/tag869.xml"/><Relationship Id="rId109" Type="http://schemas.openxmlformats.org/officeDocument/2006/relationships/tags" Target="../tags/tag939.xml"/><Relationship Id="rId34" Type="http://schemas.openxmlformats.org/officeDocument/2006/relationships/tags" Target="../tags/tag864.xml"/><Relationship Id="rId50" Type="http://schemas.openxmlformats.org/officeDocument/2006/relationships/tags" Target="../tags/tag880.xml"/><Relationship Id="rId55" Type="http://schemas.openxmlformats.org/officeDocument/2006/relationships/tags" Target="../tags/tag885.xml"/><Relationship Id="rId76" Type="http://schemas.openxmlformats.org/officeDocument/2006/relationships/tags" Target="../tags/tag906.xml"/><Relationship Id="rId97" Type="http://schemas.openxmlformats.org/officeDocument/2006/relationships/tags" Target="../tags/tag927.xml"/><Relationship Id="rId104" Type="http://schemas.openxmlformats.org/officeDocument/2006/relationships/tags" Target="../tags/tag934.xml"/><Relationship Id="rId120" Type="http://schemas.openxmlformats.org/officeDocument/2006/relationships/tags" Target="../tags/tag950.xml"/><Relationship Id="rId125" Type="http://schemas.openxmlformats.org/officeDocument/2006/relationships/tags" Target="../tags/tag955.xml"/><Relationship Id="rId141" Type="http://schemas.openxmlformats.org/officeDocument/2006/relationships/tags" Target="../tags/tag971.xml"/><Relationship Id="rId146" Type="http://schemas.openxmlformats.org/officeDocument/2006/relationships/oleObject" Target="../embeddings/oleObject9.bin"/><Relationship Id="rId7" Type="http://schemas.openxmlformats.org/officeDocument/2006/relationships/tags" Target="../tags/tag837.xml"/><Relationship Id="rId71" Type="http://schemas.openxmlformats.org/officeDocument/2006/relationships/tags" Target="../tags/tag901.xml"/><Relationship Id="rId92" Type="http://schemas.openxmlformats.org/officeDocument/2006/relationships/tags" Target="../tags/tag922.xml"/><Relationship Id="rId2" Type="http://schemas.openxmlformats.org/officeDocument/2006/relationships/tags" Target="../tags/tag832.xml"/><Relationship Id="rId29" Type="http://schemas.openxmlformats.org/officeDocument/2006/relationships/tags" Target="../tags/tag859.xml"/><Relationship Id="rId24" Type="http://schemas.openxmlformats.org/officeDocument/2006/relationships/tags" Target="../tags/tag854.xml"/><Relationship Id="rId40" Type="http://schemas.openxmlformats.org/officeDocument/2006/relationships/tags" Target="../tags/tag870.xml"/><Relationship Id="rId45" Type="http://schemas.openxmlformats.org/officeDocument/2006/relationships/tags" Target="../tags/tag875.xml"/><Relationship Id="rId66" Type="http://schemas.openxmlformats.org/officeDocument/2006/relationships/tags" Target="../tags/tag896.xml"/><Relationship Id="rId87" Type="http://schemas.openxmlformats.org/officeDocument/2006/relationships/tags" Target="../tags/tag917.xml"/><Relationship Id="rId110" Type="http://schemas.openxmlformats.org/officeDocument/2006/relationships/tags" Target="../tags/tag940.xml"/><Relationship Id="rId115" Type="http://schemas.openxmlformats.org/officeDocument/2006/relationships/tags" Target="../tags/tag945.xml"/><Relationship Id="rId131" Type="http://schemas.openxmlformats.org/officeDocument/2006/relationships/tags" Target="../tags/tag961.xml"/><Relationship Id="rId136" Type="http://schemas.openxmlformats.org/officeDocument/2006/relationships/tags" Target="../tags/tag966.xml"/><Relationship Id="rId61" Type="http://schemas.openxmlformats.org/officeDocument/2006/relationships/tags" Target="../tags/tag891.xml"/><Relationship Id="rId82" Type="http://schemas.openxmlformats.org/officeDocument/2006/relationships/tags" Target="../tags/tag912.xml"/><Relationship Id="rId19" Type="http://schemas.openxmlformats.org/officeDocument/2006/relationships/tags" Target="../tags/tag849.xml"/><Relationship Id="rId14" Type="http://schemas.openxmlformats.org/officeDocument/2006/relationships/tags" Target="../tags/tag844.xml"/><Relationship Id="rId30" Type="http://schemas.openxmlformats.org/officeDocument/2006/relationships/tags" Target="../tags/tag860.xml"/><Relationship Id="rId35" Type="http://schemas.openxmlformats.org/officeDocument/2006/relationships/tags" Target="../tags/tag865.xml"/><Relationship Id="rId56" Type="http://schemas.openxmlformats.org/officeDocument/2006/relationships/tags" Target="../tags/tag886.xml"/><Relationship Id="rId77" Type="http://schemas.openxmlformats.org/officeDocument/2006/relationships/tags" Target="../tags/tag907.xml"/><Relationship Id="rId100" Type="http://schemas.openxmlformats.org/officeDocument/2006/relationships/tags" Target="../tags/tag930.xml"/><Relationship Id="rId105" Type="http://schemas.openxmlformats.org/officeDocument/2006/relationships/tags" Target="../tags/tag935.xml"/><Relationship Id="rId126" Type="http://schemas.openxmlformats.org/officeDocument/2006/relationships/tags" Target="../tags/tag956.xml"/><Relationship Id="rId147" Type="http://schemas.openxmlformats.org/officeDocument/2006/relationships/image" Target="../media/image2.emf"/><Relationship Id="rId8" Type="http://schemas.openxmlformats.org/officeDocument/2006/relationships/tags" Target="../tags/tag838.xml"/><Relationship Id="rId51" Type="http://schemas.openxmlformats.org/officeDocument/2006/relationships/tags" Target="../tags/tag881.xml"/><Relationship Id="rId72" Type="http://schemas.openxmlformats.org/officeDocument/2006/relationships/tags" Target="../tags/tag902.xml"/><Relationship Id="rId93" Type="http://schemas.openxmlformats.org/officeDocument/2006/relationships/tags" Target="../tags/tag923.xml"/><Relationship Id="rId98" Type="http://schemas.openxmlformats.org/officeDocument/2006/relationships/tags" Target="../tags/tag928.xml"/><Relationship Id="rId121" Type="http://schemas.openxmlformats.org/officeDocument/2006/relationships/tags" Target="../tags/tag951.xml"/><Relationship Id="rId142" Type="http://schemas.openxmlformats.org/officeDocument/2006/relationships/tags" Target="../tags/tag972.xml"/><Relationship Id="rId3" Type="http://schemas.openxmlformats.org/officeDocument/2006/relationships/tags" Target="../tags/tag833.xml"/><Relationship Id="rId25" Type="http://schemas.openxmlformats.org/officeDocument/2006/relationships/tags" Target="../tags/tag855.xml"/><Relationship Id="rId46" Type="http://schemas.openxmlformats.org/officeDocument/2006/relationships/tags" Target="../tags/tag876.xml"/><Relationship Id="rId67" Type="http://schemas.openxmlformats.org/officeDocument/2006/relationships/tags" Target="../tags/tag897.xml"/><Relationship Id="rId116" Type="http://schemas.openxmlformats.org/officeDocument/2006/relationships/tags" Target="../tags/tag946.xml"/><Relationship Id="rId137" Type="http://schemas.openxmlformats.org/officeDocument/2006/relationships/tags" Target="../tags/tag967.xml"/><Relationship Id="rId20" Type="http://schemas.openxmlformats.org/officeDocument/2006/relationships/tags" Target="../tags/tag850.xml"/><Relationship Id="rId41" Type="http://schemas.openxmlformats.org/officeDocument/2006/relationships/tags" Target="../tags/tag871.xml"/><Relationship Id="rId62" Type="http://schemas.openxmlformats.org/officeDocument/2006/relationships/tags" Target="../tags/tag892.xml"/><Relationship Id="rId83" Type="http://schemas.openxmlformats.org/officeDocument/2006/relationships/tags" Target="../tags/tag913.xml"/><Relationship Id="rId88" Type="http://schemas.openxmlformats.org/officeDocument/2006/relationships/tags" Target="../tags/tag918.xml"/><Relationship Id="rId111" Type="http://schemas.openxmlformats.org/officeDocument/2006/relationships/tags" Target="../tags/tag941.xml"/><Relationship Id="rId132" Type="http://schemas.openxmlformats.org/officeDocument/2006/relationships/tags" Target="../tags/tag962.xml"/><Relationship Id="rId15" Type="http://schemas.openxmlformats.org/officeDocument/2006/relationships/tags" Target="../tags/tag845.xml"/><Relationship Id="rId36" Type="http://schemas.openxmlformats.org/officeDocument/2006/relationships/tags" Target="../tags/tag866.xml"/><Relationship Id="rId57" Type="http://schemas.openxmlformats.org/officeDocument/2006/relationships/tags" Target="../tags/tag887.xml"/><Relationship Id="rId106" Type="http://schemas.openxmlformats.org/officeDocument/2006/relationships/tags" Target="../tags/tag936.xml"/><Relationship Id="rId127" Type="http://schemas.openxmlformats.org/officeDocument/2006/relationships/tags" Target="../tags/tag957.xml"/><Relationship Id="rId10" Type="http://schemas.openxmlformats.org/officeDocument/2006/relationships/tags" Target="../tags/tag840.xml"/><Relationship Id="rId31" Type="http://schemas.openxmlformats.org/officeDocument/2006/relationships/tags" Target="../tags/tag861.xml"/><Relationship Id="rId52" Type="http://schemas.openxmlformats.org/officeDocument/2006/relationships/tags" Target="../tags/tag882.xml"/><Relationship Id="rId73" Type="http://schemas.openxmlformats.org/officeDocument/2006/relationships/tags" Target="../tags/tag903.xml"/><Relationship Id="rId78" Type="http://schemas.openxmlformats.org/officeDocument/2006/relationships/tags" Target="../tags/tag908.xml"/><Relationship Id="rId94" Type="http://schemas.openxmlformats.org/officeDocument/2006/relationships/tags" Target="../tags/tag924.xml"/><Relationship Id="rId99" Type="http://schemas.openxmlformats.org/officeDocument/2006/relationships/tags" Target="../tags/tag929.xml"/><Relationship Id="rId101" Type="http://schemas.openxmlformats.org/officeDocument/2006/relationships/tags" Target="../tags/tag931.xml"/><Relationship Id="rId122" Type="http://schemas.openxmlformats.org/officeDocument/2006/relationships/tags" Target="../tags/tag952.xml"/><Relationship Id="rId143" Type="http://schemas.openxmlformats.org/officeDocument/2006/relationships/tags" Target="../tags/tag973.xml"/><Relationship Id="rId148" Type="http://schemas.openxmlformats.org/officeDocument/2006/relationships/chart" Target="../charts/chart26.xml"/><Relationship Id="rId4" Type="http://schemas.openxmlformats.org/officeDocument/2006/relationships/tags" Target="../tags/tag834.xml"/><Relationship Id="rId9" Type="http://schemas.openxmlformats.org/officeDocument/2006/relationships/tags" Target="../tags/tag839.xml"/><Relationship Id="rId26" Type="http://schemas.openxmlformats.org/officeDocument/2006/relationships/tags" Target="../tags/tag856.xml"/><Relationship Id="rId47" Type="http://schemas.openxmlformats.org/officeDocument/2006/relationships/tags" Target="../tags/tag877.xml"/><Relationship Id="rId68" Type="http://schemas.openxmlformats.org/officeDocument/2006/relationships/tags" Target="../tags/tag898.xml"/><Relationship Id="rId89" Type="http://schemas.openxmlformats.org/officeDocument/2006/relationships/tags" Target="../tags/tag919.xml"/><Relationship Id="rId112" Type="http://schemas.openxmlformats.org/officeDocument/2006/relationships/tags" Target="../tags/tag942.xml"/><Relationship Id="rId133" Type="http://schemas.openxmlformats.org/officeDocument/2006/relationships/tags" Target="../tags/tag963.xml"/><Relationship Id="rId16" Type="http://schemas.openxmlformats.org/officeDocument/2006/relationships/tags" Target="../tags/tag846.xml"/><Relationship Id="rId37" Type="http://schemas.openxmlformats.org/officeDocument/2006/relationships/tags" Target="../tags/tag867.xml"/><Relationship Id="rId58" Type="http://schemas.openxmlformats.org/officeDocument/2006/relationships/tags" Target="../tags/tag888.xml"/><Relationship Id="rId79" Type="http://schemas.openxmlformats.org/officeDocument/2006/relationships/tags" Target="../tags/tag909.xml"/><Relationship Id="rId102" Type="http://schemas.openxmlformats.org/officeDocument/2006/relationships/tags" Target="../tags/tag932.xml"/><Relationship Id="rId123" Type="http://schemas.openxmlformats.org/officeDocument/2006/relationships/tags" Target="../tags/tag953.xml"/><Relationship Id="rId144" Type="http://schemas.openxmlformats.org/officeDocument/2006/relationships/slideLayout" Target="../slideLayouts/slideLayout2.xml"/><Relationship Id="rId90" Type="http://schemas.openxmlformats.org/officeDocument/2006/relationships/tags" Target="../tags/tag920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090.xml"/><Relationship Id="rId21" Type="http://schemas.openxmlformats.org/officeDocument/2006/relationships/tags" Target="../tags/tag994.xml"/><Relationship Id="rId42" Type="http://schemas.openxmlformats.org/officeDocument/2006/relationships/tags" Target="../tags/tag1015.xml"/><Relationship Id="rId63" Type="http://schemas.openxmlformats.org/officeDocument/2006/relationships/tags" Target="../tags/tag1036.xml"/><Relationship Id="rId84" Type="http://schemas.openxmlformats.org/officeDocument/2006/relationships/tags" Target="../tags/tag1057.xml"/><Relationship Id="rId138" Type="http://schemas.openxmlformats.org/officeDocument/2006/relationships/tags" Target="../tags/tag1111.xml"/><Relationship Id="rId107" Type="http://schemas.openxmlformats.org/officeDocument/2006/relationships/tags" Target="../tags/tag1080.xml"/><Relationship Id="rId11" Type="http://schemas.openxmlformats.org/officeDocument/2006/relationships/tags" Target="../tags/tag984.xml"/><Relationship Id="rId32" Type="http://schemas.openxmlformats.org/officeDocument/2006/relationships/tags" Target="../tags/tag1005.xml"/><Relationship Id="rId53" Type="http://schemas.openxmlformats.org/officeDocument/2006/relationships/tags" Target="../tags/tag1026.xml"/><Relationship Id="rId74" Type="http://schemas.openxmlformats.org/officeDocument/2006/relationships/tags" Target="../tags/tag1047.xml"/><Relationship Id="rId128" Type="http://schemas.openxmlformats.org/officeDocument/2006/relationships/tags" Target="../tags/tag1101.xml"/><Relationship Id="rId149" Type="http://schemas.openxmlformats.org/officeDocument/2006/relationships/notesSlide" Target="../notesSlides/notesSlide9.xml"/><Relationship Id="rId5" Type="http://schemas.openxmlformats.org/officeDocument/2006/relationships/tags" Target="../tags/tag978.xml"/><Relationship Id="rId95" Type="http://schemas.openxmlformats.org/officeDocument/2006/relationships/tags" Target="../tags/tag1068.xml"/><Relationship Id="rId22" Type="http://schemas.openxmlformats.org/officeDocument/2006/relationships/tags" Target="../tags/tag995.xml"/><Relationship Id="rId27" Type="http://schemas.openxmlformats.org/officeDocument/2006/relationships/tags" Target="../tags/tag1000.xml"/><Relationship Id="rId43" Type="http://schemas.openxmlformats.org/officeDocument/2006/relationships/tags" Target="../tags/tag1016.xml"/><Relationship Id="rId48" Type="http://schemas.openxmlformats.org/officeDocument/2006/relationships/tags" Target="../tags/tag1021.xml"/><Relationship Id="rId64" Type="http://schemas.openxmlformats.org/officeDocument/2006/relationships/tags" Target="../tags/tag1037.xml"/><Relationship Id="rId69" Type="http://schemas.openxmlformats.org/officeDocument/2006/relationships/tags" Target="../tags/tag1042.xml"/><Relationship Id="rId113" Type="http://schemas.openxmlformats.org/officeDocument/2006/relationships/tags" Target="../tags/tag1086.xml"/><Relationship Id="rId118" Type="http://schemas.openxmlformats.org/officeDocument/2006/relationships/tags" Target="../tags/tag1091.xml"/><Relationship Id="rId134" Type="http://schemas.openxmlformats.org/officeDocument/2006/relationships/tags" Target="../tags/tag1107.xml"/><Relationship Id="rId139" Type="http://schemas.openxmlformats.org/officeDocument/2006/relationships/tags" Target="../tags/tag1112.xml"/><Relationship Id="rId80" Type="http://schemas.openxmlformats.org/officeDocument/2006/relationships/tags" Target="../tags/tag1053.xml"/><Relationship Id="rId85" Type="http://schemas.openxmlformats.org/officeDocument/2006/relationships/tags" Target="../tags/tag1058.xml"/><Relationship Id="rId150" Type="http://schemas.openxmlformats.org/officeDocument/2006/relationships/oleObject" Target="../embeddings/oleObject10.bin"/><Relationship Id="rId155" Type="http://schemas.openxmlformats.org/officeDocument/2006/relationships/chart" Target="../charts/chart33.xml"/><Relationship Id="rId12" Type="http://schemas.openxmlformats.org/officeDocument/2006/relationships/tags" Target="../tags/tag985.xml"/><Relationship Id="rId17" Type="http://schemas.openxmlformats.org/officeDocument/2006/relationships/tags" Target="../tags/tag990.xml"/><Relationship Id="rId33" Type="http://schemas.openxmlformats.org/officeDocument/2006/relationships/tags" Target="../tags/tag1006.xml"/><Relationship Id="rId38" Type="http://schemas.openxmlformats.org/officeDocument/2006/relationships/tags" Target="../tags/tag1011.xml"/><Relationship Id="rId59" Type="http://schemas.openxmlformats.org/officeDocument/2006/relationships/tags" Target="../tags/tag1032.xml"/><Relationship Id="rId103" Type="http://schemas.openxmlformats.org/officeDocument/2006/relationships/tags" Target="../tags/tag1076.xml"/><Relationship Id="rId108" Type="http://schemas.openxmlformats.org/officeDocument/2006/relationships/tags" Target="../tags/tag1081.xml"/><Relationship Id="rId124" Type="http://schemas.openxmlformats.org/officeDocument/2006/relationships/tags" Target="../tags/tag1097.xml"/><Relationship Id="rId129" Type="http://schemas.openxmlformats.org/officeDocument/2006/relationships/tags" Target="../tags/tag1102.xml"/><Relationship Id="rId54" Type="http://schemas.openxmlformats.org/officeDocument/2006/relationships/tags" Target="../tags/tag1027.xml"/><Relationship Id="rId70" Type="http://schemas.openxmlformats.org/officeDocument/2006/relationships/tags" Target="../tags/tag1043.xml"/><Relationship Id="rId75" Type="http://schemas.openxmlformats.org/officeDocument/2006/relationships/tags" Target="../tags/tag1048.xml"/><Relationship Id="rId91" Type="http://schemas.openxmlformats.org/officeDocument/2006/relationships/tags" Target="../tags/tag1064.xml"/><Relationship Id="rId96" Type="http://schemas.openxmlformats.org/officeDocument/2006/relationships/tags" Target="../tags/tag1069.xml"/><Relationship Id="rId140" Type="http://schemas.openxmlformats.org/officeDocument/2006/relationships/tags" Target="../tags/tag1113.xml"/><Relationship Id="rId145" Type="http://schemas.openxmlformats.org/officeDocument/2006/relationships/tags" Target="../tags/tag1118.xml"/><Relationship Id="rId1" Type="http://schemas.openxmlformats.org/officeDocument/2006/relationships/tags" Target="../tags/tag974.xml"/><Relationship Id="rId6" Type="http://schemas.openxmlformats.org/officeDocument/2006/relationships/tags" Target="../tags/tag979.xml"/><Relationship Id="rId23" Type="http://schemas.openxmlformats.org/officeDocument/2006/relationships/tags" Target="../tags/tag996.xml"/><Relationship Id="rId28" Type="http://schemas.openxmlformats.org/officeDocument/2006/relationships/tags" Target="../tags/tag1001.xml"/><Relationship Id="rId49" Type="http://schemas.openxmlformats.org/officeDocument/2006/relationships/tags" Target="../tags/tag1022.xml"/><Relationship Id="rId114" Type="http://schemas.openxmlformats.org/officeDocument/2006/relationships/tags" Target="../tags/tag1087.xml"/><Relationship Id="rId119" Type="http://schemas.openxmlformats.org/officeDocument/2006/relationships/tags" Target="../tags/tag1092.xml"/><Relationship Id="rId44" Type="http://schemas.openxmlformats.org/officeDocument/2006/relationships/tags" Target="../tags/tag1017.xml"/><Relationship Id="rId60" Type="http://schemas.openxmlformats.org/officeDocument/2006/relationships/tags" Target="../tags/tag1033.xml"/><Relationship Id="rId65" Type="http://schemas.openxmlformats.org/officeDocument/2006/relationships/tags" Target="../tags/tag1038.xml"/><Relationship Id="rId81" Type="http://schemas.openxmlformats.org/officeDocument/2006/relationships/tags" Target="../tags/tag1054.xml"/><Relationship Id="rId86" Type="http://schemas.openxmlformats.org/officeDocument/2006/relationships/tags" Target="../tags/tag1059.xml"/><Relationship Id="rId130" Type="http://schemas.openxmlformats.org/officeDocument/2006/relationships/tags" Target="../tags/tag1103.xml"/><Relationship Id="rId135" Type="http://schemas.openxmlformats.org/officeDocument/2006/relationships/tags" Target="../tags/tag1108.xml"/><Relationship Id="rId151" Type="http://schemas.openxmlformats.org/officeDocument/2006/relationships/image" Target="../media/image2.emf"/><Relationship Id="rId13" Type="http://schemas.openxmlformats.org/officeDocument/2006/relationships/tags" Target="../tags/tag986.xml"/><Relationship Id="rId18" Type="http://schemas.openxmlformats.org/officeDocument/2006/relationships/tags" Target="../tags/tag991.xml"/><Relationship Id="rId39" Type="http://schemas.openxmlformats.org/officeDocument/2006/relationships/tags" Target="../tags/tag1012.xml"/><Relationship Id="rId109" Type="http://schemas.openxmlformats.org/officeDocument/2006/relationships/tags" Target="../tags/tag1082.xml"/><Relationship Id="rId34" Type="http://schemas.openxmlformats.org/officeDocument/2006/relationships/tags" Target="../tags/tag1007.xml"/><Relationship Id="rId50" Type="http://schemas.openxmlformats.org/officeDocument/2006/relationships/tags" Target="../tags/tag1023.xml"/><Relationship Id="rId55" Type="http://schemas.openxmlformats.org/officeDocument/2006/relationships/tags" Target="../tags/tag1028.xml"/><Relationship Id="rId76" Type="http://schemas.openxmlformats.org/officeDocument/2006/relationships/tags" Target="../tags/tag1049.xml"/><Relationship Id="rId97" Type="http://schemas.openxmlformats.org/officeDocument/2006/relationships/tags" Target="../tags/tag1070.xml"/><Relationship Id="rId104" Type="http://schemas.openxmlformats.org/officeDocument/2006/relationships/tags" Target="../tags/tag1077.xml"/><Relationship Id="rId120" Type="http://schemas.openxmlformats.org/officeDocument/2006/relationships/tags" Target="../tags/tag1093.xml"/><Relationship Id="rId125" Type="http://schemas.openxmlformats.org/officeDocument/2006/relationships/tags" Target="../tags/tag1098.xml"/><Relationship Id="rId141" Type="http://schemas.openxmlformats.org/officeDocument/2006/relationships/tags" Target="../tags/tag1114.xml"/><Relationship Id="rId146" Type="http://schemas.openxmlformats.org/officeDocument/2006/relationships/tags" Target="../tags/tag1119.xml"/><Relationship Id="rId7" Type="http://schemas.openxmlformats.org/officeDocument/2006/relationships/tags" Target="../tags/tag980.xml"/><Relationship Id="rId71" Type="http://schemas.openxmlformats.org/officeDocument/2006/relationships/tags" Target="../tags/tag1044.xml"/><Relationship Id="rId92" Type="http://schemas.openxmlformats.org/officeDocument/2006/relationships/tags" Target="../tags/tag1065.xml"/><Relationship Id="rId2" Type="http://schemas.openxmlformats.org/officeDocument/2006/relationships/tags" Target="../tags/tag975.xml"/><Relationship Id="rId29" Type="http://schemas.openxmlformats.org/officeDocument/2006/relationships/tags" Target="../tags/tag1002.xml"/><Relationship Id="rId24" Type="http://schemas.openxmlformats.org/officeDocument/2006/relationships/tags" Target="../tags/tag997.xml"/><Relationship Id="rId40" Type="http://schemas.openxmlformats.org/officeDocument/2006/relationships/tags" Target="../tags/tag1013.xml"/><Relationship Id="rId45" Type="http://schemas.openxmlformats.org/officeDocument/2006/relationships/tags" Target="../tags/tag1018.xml"/><Relationship Id="rId66" Type="http://schemas.openxmlformats.org/officeDocument/2006/relationships/tags" Target="../tags/tag1039.xml"/><Relationship Id="rId87" Type="http://schemas.openxmlformats.org/officeDocument/2006/relationships/tags" Target="../tags/tag1060.xml"/><Relationship Id="rId110" Type="http://schemas.openxmlformats.org/officeDocument/2006/relationships/tags" Target="../tags/tag1083.xml"/><Relationship Id="rId115" Type="http://schemas.openxmlformats.org/officeDocument/2006/relationships/tags" Target="../tags/tag1088.xml"/><Relationship Id="rId131" Type="http://schemas.openxmlformats.org/officeDocument/2006/relationships/tags" Target="../tags/tag1104.xml"/><Relationship Id="rId136" Type="http://schemas.openxmlformats.org/officeDocument/2006/relationships/tags" Target="../tags/tag1109.xml"/><Relationship Id="rId61" Type="http://schemas.openxmlformats.org/officeDocument/2006/relationships/tags" Target="../tags/tag1034.xml"/><Relationship Id="rId82" Type="http://schemas.openxmlformats.org/officeDocument/2006/relationships/tags" Target="../tags/tag1055.xml"/><Relationship Id="rId152" Type="http://schemas.openxmlformats.org/officeDocument/2006/relationships/chart" Target="../charts/chart30.xml"/><Relationship Id="rId19" Type="http://schemas.openxmlformats.org/officeDocument/2006/relationships/tags" Target="../tags/tag992.xml"/><Relationship Id="rId14" Type="http://schemas.openxmlformats.org/officeDocument/2006/relationships/tags" Target="../tags/tag987.xml"/><Relationship Id="rId30" Type="http://schemas.openxmlformats.org/officeDocument/2006/relationships/tags" Target="../tags/tag1003.xml"/><Relationship Id="rId35" Type="http://schemas.openxmlformats.org/officeDocument/2006/relationships/tags" Target="../tags/tag1008.xml"/><Relationship Id="rId56" Type="http://schemas.openxmlformats.org/officeDocument/2006/relationships/tags" Target="../tags/tag1029.xml"/><Relationship Id="rId77" Type="http://schemas.openxmlformats.org/officeDocument/2006/relationships/tags" Target="../tags/tag1050.xml"/><Relationship Id="rId100" Type="http://schemas.openxmlformats.org/officeDocument/2006/relationships/tags" Target="../tags/tag1073.xml"/><Relationship Id="rId105" Type="http://schemas.openxmlformats.org/officeDocument/2006/relationships/tags" Target="../tags/tag1078.xml"/><Relationship Id="rId126" Type="http://schemas.openxmlformats.org/officeDocument/2006/relationships/tags" Target="../tags/tag1099.xml"/><Relationship Id="rId147" Type="http://schemas.openxmlformats.org/officeDocument/2006/relationships/tags" Target="../tags/tag1120.xml"/><Relationship Id="rId8" Type="http://schemas.openxmlformats.org/officeDocument/2006/relationships/tags" Target="../tags/tag981.xml"/><Relationship Id="rId51" Type="http://schemas.openxmlformats.org/officeDocument/2006/relationships/tags" Target="../tags/tag1024.xml"/><Relationship Id="rId72" Type="http://schemas.openxmlformats.org/officeDocument/2006/relationships/tags" Target="../tags/tag1045.xml"/><Relationship Id="rId93" Type="http://schemas.openxmlformats.org/officeDocument/2006/relationships/tags" Target="../tags/tag1066.xml"/><Relationship Id="rId98" Type="http://schemas.openxmlformats.org/officeDocument/2006/relationships/tags" Target="../tags/tag1071.xml"/><Relationship Id="rId121" Type="http://schemas.openxmlformats.org/officeDocument/2006/relationships/tags" Target="../tags/tag1094.xml"/><Relationship Id="rId142" Type="http://schemas.openxmlformats.org/officeDocument/2006/relationships/tags" Target="../tags/tag1115.xml"/><Relationship Id="rId3" Type="http://schemas.openxmlformats.org/officeDocument/2006/relationships/tags" Target="../tags/tag976.xml"/><Relationship Id="rId25" Type="http://schemas.openxmlformats.org/officeDocument/2006/relationships/tags" Target="../tags/tag998.xml"/><Relationship Id="rId46" Type="http://schemas.openxmlformats.org/officeDocument/2006/relationships/tags" Target="../tags/tag1019.xml"/><Relationship Id="rId67" Type="http://schemas.openxmlformats.org/officeDocument/2006/relationships/tags" Target="../tags/tag1040.xml"/><Relationship Id="rId116" Type="http://schemas.openxmlformats.org/officeDocument/2006/relationships/tags" Target="../tags/tag1089.xml"/><Relationship Id="rId137" Type="http://schemas.openxmlformats.org/officeDocument/2006/relationships/tags" Target="../tags/tag1110.xml"/><Relationship Id="rId20" Type="http://schemas.openxmlformats.org/officeDocument/2006/relationships/tags" Target="../tags/tag993.xml"/><Relationship Id="rId41" Type="http://schemas.openxmlformats.org/officeDocument/2006/relationships/tags" Target="../tags/tag1014.xml"/><Relationship Id="rId62" Type="http://schemas.openxmlformats.org/officeDocument/2006/relationships/tags" Target="../tags/tag1035.xml"/><Relationship Id="rId83" Type="http://schemas.openxmlformats.org/officeDocument/2006/relationships/tags" Target="../tags/tag1056.xml"/><Relationship Id="rId88" Type="http://schemas.openxmlformats.org/officeDocument/2006/relationships/tags" Target="../tags/tag1061.xml"/><Relationship Id="rId111" Type="http://schemas.openxmlformats.org/officeDocument/2006/relationships/tags" Target="../tags/tag1084.xml"/><Relationship Id="rId132" Type="http://schemas.openxmlformats.org/officeDocument/2006/relationships/tags" Target="../tags/tag1105.xml"/><Relationship Id="rId153" Type="http://schemas.openxmlformats.org/officeDocument/2006/relationships/chart" Target="../charts/chart31.xml"/><Relationship Id="rId15" Type="http://schemas.openxmlformats.org/officeDocument/2006/relationships/tags" Target="../tags/tag988.xml"/><Relationship Id="rId36" Type="http://schemas.openxmlformats.org/officeDocument/2006/relationships/tags" Target="../tags/tag1009.xml"/><Relationship Id="rId57" Type="http://schemas.openxmlformats.org/officeDocument/2006/relationships/tags" Target="../tags/tag1030.xml"/><Relationship Id="rId106" Type="http://schemas.openxmlformats.org/officeDocument/2006/relationships/tags" Target="../tags/tag1079.xml"/><Relationship Id="rId127" Type="http://schemas.openxmlformats.org/officeDocument/2006/relationships/tags" Target="../tags/tag1100.xml"/><Relationship Id="rId10" Type="http://schemas.openxmlformats.org/officeDocument/2006/relationships/tags" Target="../tags/tag983.xml"/><Relationship Id="rId31" Type="http://schemas.openxmlformats.org/officeDocument/2006/relationships/tags" Target="../tags/tag1004.xml"/><Relationship Id="rId52" Type="http://schemas.openxmlformats.org/officeDocument/2006/relationships/tags" Target="../tags/tag1025.xml"/><Relationship Id="rId73" Type="http://schemas.openxmlformats.org/officeDocument/2006/relationships/tags" Target="../tags/tag1046.xml"/><Relationship Id="rId78" Type="http://schemas.openxmlformats.org/officeDocument/2006/relationships/tags" Target="../tags/tag1051.xml"/><Relationship Id="rId94" Type="http://schemas.openxmlformats.org/officeDocument/2006/relationships/tags" Target="../tags/tag1067.xml"/><Relationship Id="rId99" Type="http://schemas.openxmlformats.org/officeDocument/2006/relationships/tags" Target="../tags/tag1072.xml"/><Relationship Id="rId101" Type="http://schemas.openxmlformats.org/officeDocument/2006/relationships/tags" Target="../tags/tag1074.xml"/><Relationship Id="rId122" Type="http://schemas.openxmlformats.org/officeDocument/2006/relationships/tags" Target="../tags/tag1095.xml"/><Relationship Id="rId143" Type="http://schemas.openxmlformats.org/officeDocument/2006/relationships/tags" Target="../tags/tag1116.xml"/><Relationship Id="rId148" Type="http://schemas.openxmlformats.org/officeDocument/2006/relationships/slideLayout" Target="../slideLayouts/slideLayout2.xml"/><Relationship Id="rId4" Type="http://schemas.openxmlformats.org/officeDocument/2006/relationships/tags" Target="../tags/tag977.xml"/><Relationship Id="rId9" Type="http://schemas.openxmlformats.org/officeDocument/2006/relationships/tags" Target="../tags/tag982.xml"/><Relationship Id="rId26" Type="http://schemas.openxmlformats.org/officeDocument/2006/relationships/tags" Target="../tags/tag999.xml"/><Relationship Id="rId47" Type="http://schemas.openxmlformats.org/officeDocument/2006/relationships/tags" Target="../tags/tag1020.xml"/><Relationship Id="rId68" Type="http://schemas.openxmlformats.org/officeDocument/2006/relationships/tags" Target="../tags/tag1041.xml"/><Relationship Id="rId89" Type="http://schemas.openxmlformats.org/officeDocument/2006/relationships/tags" Target="../tags/tag1062.xml"/><Relationship Id="rId112" Type="http://schemas.openxmlformats.org/officeDocument/2006/relationships/tags" Target="../tags/tag1085.xml"/><Relationship Id="rId133" Type="http://schemas.openxmlformats.org/officeDocument/2006/relationships/tags" Target="../tags/tag1106.xml"/><Relationship Id="rId154" Type="http://schemas.openxmlformats.org/officeDocument/2006/relationships/chart" Target="../charts/chart32.xml"/><Relationship Id="rId16" Type="http://schemas.openxmlformats.org/officeDocument/2006/relationships/tags" Target="../tags/tag989.xml"/><Relationship Id="rId37" Type="http://schemas.openxmlformats.org/officeDocument/2006/relationships/tags" Target="../tags/tag1010.xml"/><Relationship Id="rId58" Type="http://schemas.openxmlformats.org/officeDocument/2006/relationships/tags" Target="../tags/tag1031.xml"/><Relationship Id="rId79" Type="http://schemas.openxmlformats.org/officeDocument/2006/relationships/tags" Target="../tags/tag1052.xml"/><Relationship Id="rId102" Type="http://schemas.openxmlformats.org/officeDocument/2006/relationships/tags" Target="../tags/tag1075.xml"/><Relationship Id="rId123" Type="http://schemas.openxmlformats.org/officeDocument/2006/relationships/tags" Target="../tags/tag1096.xml"/><Relationship Id="rId144" Type="http://schemas.openxmlformats.org/officeDocument/2006/relationships/tags" Target="../tags/tag1117.xml"/><Relationship Id="rId90" Type="http://schemas.openxmlformats.org/officeDocument/2006/relationships/tags" Target="../tags/tag10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007A96A-9808-9DE4-304D-F1BBF75FA52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7480077"/>
              </p:ext>
            </p:extLst>
          </p:nvPr>
        </p:nvGraphicFramePr>
        <p:xfrm>
          <a:off x="1192" y="85844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0" imgW="7772400" imgH="10058400" progId="TCLayout.ActiveDocument.1">
                  <p:embed/>
                </p:oleObj>
              </mc:Choice>
              <mc:Fallback>
                <p:oleObj name="think-cell 幻灯片" r:id="rId5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07A96A-9808-9DE4-304D-F1BBF75FA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192" y="85844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39" name="Chart 3">
            <a:extLst>
              <a:ext uri="{FF2B5EF4-FFF2-40B4-BE49-F238E27FC236}">
                <a16:creationId xmlns:a16="http://schemas.microsoft.com/office/drawing/2014/main" id="{755C2156-8954-D307-9F0E-3D4B1583378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5562563"/>
              </p:ext>
            </p:extLst>
          </p:nvPr>
        </p:nvGraphicFramePr>
        <p:xfrm>
          <a:off x="696913" y="1004888"/>
          <a:ext cx="7207250" cy="417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cxnSp>
        <p:nvCxnSpPr>
          <p:cNvPr id="154" name="直线连接符 153">
            <a:extLst>
              <a:ext uri="{FF2B5EF4-FFF2-40B4-BE49-F238E27FC236}">
                <a16:creationId xmlns:a16="http://schemas.microsoft.com/office/drawing/2014/main" id="{12B909F1-C9E1-1C91-3A8F-3B3B062DFF3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7859713" y="4675188"/>
            <a:ext cx="79375" cy="1254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线连接符 152">
            <a:extLst>
              <a:ext uri="{FF2B5EF4-FFF2-40B4-BE49-F238E27FC236}">
                <a16:creationId xmlns:a16="http://schemas.microsoft.com/office/drawing/2014/main" id="{C17F0F03-BDCF-BE38-6B82-751CF330DF4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7859713" y="4432300"/>
            <a:ext cx="79375" cy="323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62157E72-2F64-BC88-86BE-DA456C88E8C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4845050" y="5153025"/>
            <a:ext cx="61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5DCCBA-9826-43C3-9252-459C9FE537D6}" type="datetime'''''''5''''''''''''''月''''''''''''m''''''''''''td'''''">
              <a:rPr kumimoji="1" lang="en-GB" altLang="en-US" sz="450" smtClean="0">
                <a:ea typeface="等线" panose="02010600030101010101" pitchFamily="2" charset="-122"/>
              </a:rPr>
              <a:pPr/>
              <a:t>5月mtd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783B3B8C-6AC8-D0A0-EFC4-B8E91E907CB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238250" y="1555750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CBA233-5DB5-491A-A284-EFFAED1D9C1B}" type="datetime'4''''''''''''''''''1''6'''''''''''''''''''''''''''''''">
              <a:rPr kumimoji="1"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6</a:t>
            </a:fld>
            <a:br>
              <a:rPr kumimoji="1"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FC1DD981-1F6A-482D-8292-04DE31514E43}" type="datetime'''''''2''%'''''''''''''''''''''''''''''''''''''">
              <a:rPr kumimoji="1"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FECFE190-4C36-B8E3-FF6A-949F2F7FB98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697038" y="2005013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95A132-FB36-41D9-92C9-558CACD9633B}" type="datetime'8''''''''''''''''''''''''3''''''''''''''''''''''1''0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10</a:t>
            </a:fld>
            <a:br>
              <a:rPr kumimoji="1" lang="zh-CN" altLang="en-US" sz="1400"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effectLst/>
                <a:ea typeface="等线" panose="02010600030101010101" pitchFamily="2" charset="-122"/>
              </a:rPr>
              <a:t>(</a:t>
            </a:r>
            <a:fld id="{BF7A6C5A-325E-49C1-856B-E1877D2AF104}" type="datetime'''''''''''''''3''1%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5CD19A4E-9CA4-25CD-4058-DE7FB184BF1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679575" y="3695700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949B4D-434B-4C7B-A30F-F2FDED43AC0A}" type="datetime'1''77''''5''''''''2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52</a:t>
            </a:fld>
            <a:br>
              <a:rPr kumimoji="1" lang="zh-CN" altLang="en-US" sz="1400"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effectLst/>
                <a:ea typeface="等线" panose="02010600030101010101" pitchFamily="2" charset="-122"/>
              </a:rPr>
              <a:t>(</a:t>
            </a:r>
            <a:fld id="{15E4A585-9D36-4982-98C5-E2A8820BA2CE}" type="datetime'''6''''''''7''''''%''''''''''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0C9D4FF3-C642-7832-37A3-58CC8CE22EF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900238" y="5153025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C152A5-F8FB-464C-99E7-615D8F20BD14}" type="datetime'''''''F''''''''Y''''''26''Q''''''''3'''''''''''''''''''">
              <a:rPr kumimoji="1" lang="en-GB" altLang="en-US" sz="450" smtClean="0">
                <a:ea typeface="等线" panose="02010600030101010101" pitchFamily="2" charset="-122"/>
              </a:rPr>
              <a:pPr/>
              <a:t>FY26Q3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6ECC93D4-84F7-D3B6-A495-8791213A552E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479675" y="1411288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2DB88-7646-4ACA-B457-A56588D0FE3C}" type="datetime'''45''''''9'''''''''''''''''''''''''''''''''''''''">
              <a:rPr kumimoji="1"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9</a:t>
            </a:fld>
            <a:br>
              <a:rPr kumimoji="1"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38614770-867E-45E1-A51D-8B406F6D635F}" type="datetime'''''''''''''''''''2''''''''''''''''%'''''''''''''''''">
              <a:rPr kumimoji="1"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A4C40AFE-4A77-BF87-065E-7BD742D62804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433638" y="203200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60E42E-62C3-4265-B2CD-0C7317CE012F}" type="datetime'9''''1''''''''''''''''''''''''''''''''''''''''''0''''''''''7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07</a:t>
            </a:fld>
            <a:br>
              <a:rPr kumimoji="1" lang="zh-CN" altLang="en-US" sz="1400"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effectLst/>
                <a:ea typeface="等线" panose="02010600030101010101" pitchFamily="2" charset="-122"/>
              </a:rPr>
              <a:t>(</a:t>
            </a:r>
            <a:fld id="{B671376D-EDBC-417B-9A6F-B641BCD34F44}" type="datetime'''''''''3''''''''''''''''''''''''''''''''''''4''''''''''%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7CF83D29-452F-73C9-CA22-2F5E720E158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416175" y="3735388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E93ADB-2677-4E3E-A7B3-C835061E3A43}" type="datetime'''''''''''''1''''''''7''1''''''''''4''''0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140</a:t>
            </a:fld>
            <a:br>
              <a:rPr kumimoji="1" lang="zh-CN" altLang="en-US" sz="1400"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effectLst/>
                <a:ea typeface="等线" panose="02010600030101010101" pitchFamily="2" charset="-122"/>
              </a:rPr>
              <a:t>(</a:t>
            </a:r>
            <a:fld id="{EFBDB30D-29AE-422E-AD39-8B1F742DED5B}" type="datetime'6''''''4%''''''''''''''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69324599-F8DC-2983-482F-7D63DF5BCA6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636838" y="5153025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C04A7F-FEA9-409E-9B3E-EF2554F642AB}" type="datetime'FY''''''''2''''''''6''''Q''''''4'''''''''">
              <a:rPr kumimoji="1" lang="en-GB" altLang="en-US" sz="450" smtClean="0">
                <a:ea typeface="等线" panose="02010600030101010101" pitchFamily="2" charset="-122"/>
              </a:rPr>
              <a:pPr/>
              <a:t>FY26Q4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43143E29-048D-6171-9178-E393335BF9FB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3216275" y="2800350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4BCF6-DEAB-4A51-9366-9BB4ED51DA3F}" type="datetime'''''3''''''''''0''''8'''''''''">
              <a:rPr kumimoji="1"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8</a:t>
            </a:fld>
            <a:br>
              <a:rPr kumimoji="1"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954F1F31-3608-4E67-9E83-3F079D7889B3}" type="datetime'''''2''''''''''''''''''''''''''''''''''''''%'''''''''''''''">
              <a:rPr kumimoji="1"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BC3B01E8-7913-8442-21B2-7C0283660F4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3170238" y="3317875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77E66F-0659-4079-A4F2-5DAF52C1F01E}" type="datetime'''''''''''''''''''''''''''5''''''0''''''''''''''37'''''''">
              <a:rPr kumimoji="1" lang="zh-CN" altLang="en-US" sz="1400" smtClean="0">
                <a:effectLst/>
              </a:rPr>
              <a:pPr/>
              <a:t>5037</a:t>
            </a:fld>
            <a:br>
              <a:rPr kumimoji="1" lang="zh-CN" altLang="en-US" sz="1400"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effectLst/>
                <a:ea typeface="等线" panose="02010600030101010101" pitchFamily="2" charset="-122"/>
              </a:rPr>
              <a:t>(</a:t>
            </a:r>
            <a:fld id="{0B2C5E2F-49B7-41EB-AED8-0715E6C78175}" type="datetime'''''''''''''3''''''''''''''''''2%'''''''''''''''''''''''''">
              <a:rPr kumimoji="1" lang="zh-CN" altLang="en-US" sz="1400" smtClean="0">
                <a:effectLst/>
              </a:rPr>
              <a:pPr/>
              <a:t>32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9385AE8E-6F88-4E54-76CA-E2AA0CDCEC1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3152775" y="4160838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BE7D70-C24F-4FC3-A564-5BBA05B6E53D}" type="datetime'''''''1''''''''0''''''''''5''''''''9''''''''''''1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91</a:t>
            </a:fld>
            <a:br>
              <a:rPr kumimoji="1" lang="zh-CN" altLang="en-US" sz="1400"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effectLst/>
                <a:ea typeface="等线" panose="02010600030101010101" pitchFamily="2" charset="-122"/>
              </a:rPr>
              <a:t>(</a:t>
            </a:r>
            <a:fld id="{E7FD82E3-BEF6-4315-BBEE-BD5958C6C272}" type="datetime'6''''''''6''''''''''''''''''''''%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B36ED6B0-2B76-6224-C966-1D6947D7115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3373438" y="5153025"/>
            <a:ext cx="619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CE17A6-AFAB-4012-BDED-D90247F9F23A}" type="datetime'F''Y2''''''7''''''''''''Q''''1''''''t''''''d'">
              <a:rPr kumimoji="1" lang="zh-CN" altLang="en-US" sz="450" smtClean="0"/>
              <a:pPr/>
              <a:t>FY27Q1td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2" name="Text Placeholder 2">
            <a:extLst>
              <a:ext uri="{FF2B5EF4-FFF2-40B4-BE49-F238E27FC236}">
                <a16:creationId xmlns:a16="http://schemas.microsoft.com/office/drawing/2014/main" id="{E9897592-6BAB-13B9-6ED5-29B93468CBA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3965575" y="3302000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73ECB7-B639-4509-A6A0-5C77235CC33A}" type="datetime'''''''''1''''''''''''''''''''9''''''''9'''''''''''''''''">
              <a:rPr kumimoji="1" lang="zh-CN" altLang="en-US" sz="1400" smtClean="0">
                <a:solidFill>
                  <a:schemeClr val="bg1"/>
                </a:solidFill>
                <a:effectLst/>
              </a:rPr>
              <a:pPr/>
              <a:t>199</a:t>
            </a:fld>
            <a:br>
              <a:rPr kumimoji="1"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7ACBF5FA-6F9C-4A44-9B3A-F86286178C26}" type="datetime'''2''''''%'''">
              <a:rPr kumimoji="1" lang="zh-CN" altLang="en-US" sz="1400" smtClean="0">
                <a:solidFill>
                  <a:schemeClr val="bg1"/>
                </a:solidFill>
                <a:effectLst/>
              </a:rPr>
              <a:pPr/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91B780CC-22A2-5DEC-4866-B8E4BA773E7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3925888" y="3986213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6BD001-ACC3-451E-9DF7-DC87A32F6FF0}" type="datetime'''''''''''34''''''6''''''''''''''''''''''''''''''''6'">
              <a:rPr kumimoji="1" lang="zh-CN" altLang="en-US" sz="1400" smtClean="0">
                <a:effectLst/>
              </a:rPr>
              <a:pPr/>
              <a:t>3466</a:t>
            </a:fld>
            <a:br>
              <a:rPr kumimoji="1" lang="zh-CN" altLang="en-US" sz="1400"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effectLst/>
                <a:ea typeface="等线" panose="02010600030101010101" pitchFamily="2" charset="-122"/>
              </a:rPr>
              <a:t>(</a:t>
            </a:r>
            <a:fld id="{F059F0C6-B95E-43DA-AE3C-379942F400B0}" type="datetime'''3''''''''''''''''3''''''''''''''''''''''''%'''''''">
              <a:rPr kumimoji="1" lang="zh-CN" altLang="en-US" sz="1400" smtClean="0">
                <a:effectLst/>
              </a:rPr>
              <a:pPr/>
              <a:t>33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90" name="Text Placeholder 2">
            <a:extLst>
              <a:ext uri="{FF2B5EF4-FFF2-40B4-BE49-F238E27FC236}">
                <a16:creationId xmlns:a16="http://schemas.microsoft.com/office/drawing/2014/main" id="{3340FA5F-E14A-2CEA-8490-561FCEE59F40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3906838" y="44037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6BEEDE-B16F-42FF-9740-700145EB16A3}" type="datetime'''''''6''''''''''''8''''''''''''''''''''5''''''5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55</a:t>
            </a:fld>
            <a:br>
              <a:rPr kumimoji="1" lang="zh-CN" altLang="en-US" sz="1400"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effectLst/>
                <a:ea typeface="等线" panose="02010600030101010101" pitchFamily="2" charset="-122"/>
              </a:rPr>
              <a:t>(</a:t>
            </a:r>
            <a:fld id="{3836AE71-A77D-49FB-8948-3FB3A3F4A9ED}" type="datetime'''''6''''''''''''5''''''''''''''''''''''''%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4114930B-BBC3-C272-619E-F5E6E4CA48F6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4110038" y="5153025"/>
            <a:ext cx="619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CF0629-687E-470F-B43A-5A5E42603547}" type="datetime'''''''''''''''''''''''''4''''''月'''''''''''''''''">
              <a:rPr kumimoji="1" lang="en-GB" altLang="en-US" sz="450" smtClean="0">
                <a:ea typeface="等线" panose="02010600030101010101" pitchFamily="2" charset="-122"/>
              </a:rPr>
              <a:pPr/>
              <a:t>4月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3" name="Text Placeholder 2">
            <a:extLst>
              <a:ext uri="{FF2B5EF4-FFF2-40B4-BE49-F238E27FC236}">
                <a16:creationId xmlns:a16="http://schemas.microsoft.com/office/drawing/2014/main" id="{FBA6EDAD-B751-E7B1-8846-16C17347372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4721225" y="3690938"/>
            <a:ext cx="376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85B773-E9F6-447B-92E6-D00C8860FB8E}" type="datetime'''''''''1''''0''''''''''''''''''''''''''''''''''''''9'''">
              <a:rPr kumimoji="1" lang="zh-CN" altLang="en-US" sz="1400" smtClean="0"/>
              <a:pPr/>
              <a:t>109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3C18ABC5-BF60-4BFB-9826-0371775A1F76}" type="datetime'''''''''''''''''''2''''''''''''''%'''''''''''''''''''''''''''">
              <a:rPr kumimoji="1" lang="zh-CN" altLang="en-US" sz="1400" smtClean="0"/>
              <a:pPr/>
              <a:t>2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4DD91172-272F-B0C4-EB6B-F0A4A3DBE74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4641850" y="4260850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36CD51-1AFA-4FCF-A347-B7D6A056F1C1}" type="datetime'''''''1''''''''''''''''5''''''''''''''''''7''''''1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71</a:t>
            </a:fld>
            <a:br>
              <a:rPr kumimoji="1" lang="zh-CN" altLang="en-US" sz="1400"/>
            </a:br>
            <a:r>
              <a:rPr kumimoji="1" lang="en-US" altLang="zh-CN" sz="1400"/>
              <a:t>(</a:t>
            </a:r>
            <a:fld id="{18D5B27C-DBC8-4D56-AB7C-D7A6F4C5ABF4}" type="datetime'''''''''''''''''''''''''''''''''2''''''''''9''''''''''%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r>
              <a:rPr kumimoji="1" lang="en-US" altLang="zh-CN" sz="1400"/>
              <a:t>)</a:t>
            </a:r>
            <a:endParaRPr kumimoji="1" lang="zh-CN" altLang="en-US" sz="1400" dirty="0"/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id="{B155A68C-E29F-62E0-D48E-6AFFEB3762E0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4683125" y="4713288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7B8182-72F5-4B54-BB63-7F551B105747}" type="datetime'''''''''''3''''''73''''''''''''''''6'''''''''''''''''''">
              <a:rPr kumimoji="1" lang="zh-CN" altLang="en-US" sz="1400" smtClean="0">
                <a:effectLst/>
              </a:rPr>
              <a:pPr/>
              <a:t>3736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47505B2A-215B-40E7-8943-CDD8A610EABD}" type="datetime'''''''''''''''''6''''''9''''''''''''''''''''''%'''">
              <a:rPr kumimoji="1" lang="zh-CN" altLang="en-US" sz="1400" smtClean="0">
                <a:effectLst/>
              </a:rPr>
              <a:pPr/>
              <a:t>6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2F06A1A-42AD-CFB3-5E9C-2934B2CFB948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1163240" y="5153025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B5D5A9-D219-40C2-9DCC-EC90ED04BA88}" type="datetime'''''''''''F''''''''''''''''''''''''Y''''2''6Q''2'">
              <a:rPr kumimoji="1" lang="en-GB" altLang="en-US" sz="450" smtClean="0">
                <a:ea typeface="等线" panose="02010600030101010101" pitchFamily="2" charset="-122"/>
              </a:rPr>
              <a:pPr/>
              <a:t>FY26Q2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13" name="文本占位符 2">
            <a:extLst>
              <a:ext uri="{FF2B5EF4-FFF2-40B4-BE49-F238E27FC236}">
                <a16:creationId xmlns:a16="http://schemas.microsoft.com/office/drawing/2014/main" id="{543A2D25-101E-0C73-CADB-283452873F04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5581650" y="5153025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5CC451-D896-431F-94A3-F53565E7A24C}" type="datetime'''W''''''''''''''4'''''''''''''">
              <a:rPr kumimoji="1" lang="en-GB" altLang="en-US" sz="450" smtClean="0">
                <a:ea typeface="等线" panose="02010600030101010101" pitchFamily="2" charset="-122"/>
              </a:rPr>
              <a:pPr/>
              <a:t>W4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C7167401-64CD-E4CC-4FA6-E13496F55C42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6318250" y="5153025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9E9A14-3C58-452F-A83C-4398C37DCAAE}" type="datetime'''''''''''''''''''''''''''''''''W''''''''3'''''''''''''''">
              <a:rPr kumimoji="1" lang="en-GB" altLang="en-US" sz="450" smtClean="0">
                <a:ea typeface="等线" panose="02010600030101010101" pitchFamily="2" charset="-122"/>
              </a:rPr>
              <a:pPr/>
              <a:t>W3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1D66EC20-58D9-3B63-08CD-98B76F39C9E1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7054850" y="5153025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4E3DA6-579F-4DE0-AA7E-3682293FD3D5}" type="datetime'''''''''W''''''''''''''''2'''''''''''''''''''">
              <a:rPr kumimoji="1" lang="en-GB" altLang="en-US" sz="450" smtClean="0">
                <a:ea typeface="等线" panose="02010600030101010101" pitchFamily="2" charset="-122"/>
              </a:rPr>
              <a:pPr/>
              <a:t>W2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E0CAF33B-A6D6-11EC-6CCD-87C25D3D88DC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7791450" y="5153025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CEA597-E199-440E-9F1D-DCB2369F43F4}" type="datetime'''''''''''W''''1'''''''''''''''''''''''''''''''''">
              <a:rPr kumimoji="1" lang="en-GB" altLang="en-US" sz="450" smtClean="0">
                <a:ea typeface="等线" panose="02010600030101010101" pitchFamily="2" charset="-122"/>
              </a:rPr>
              <a:pPr/>
              <a:t>W1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86449856-8A40-D144-FE26-21E54A84AEF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7964488" y="43370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5ED7B7-8E6E-41D0-8524-C36D5D01A914}" type="datetime'''''''''''电''''''''''''''''销'''''''''''''">
              <a:rPr kumimoji="1" lang="zh-CN" altLang="en-US" sz="1400" smtClean="0"/>
              <a:pPr/>
              <a:t>电销</a:t>
            </a:fld>
            <a:endParaRPr kumimoji="1" lang="zh-CN" altLang="en-US" sz="14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78C69A48-C03D-F338-DEC2-BB2FB17697A5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1238250" y="3733800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D29A1C-80FB-4E45-8280-F771F819FEC4}" type="datetime'''17''''''''1''''''''''''''''''7''''5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175</a:t>
            </a:fld>
            <a:br>
              <a:rPr kumimoji="1" lang="zh-CN" altLang="en-US" sz="1400"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effectLst/>
                <a:ea typeface="等线" panose="02010600030101010101" pitchFamily="2" charset="-122"/>
              </a:rPr>
              <a:t>(</a:t>
            </a:r>
            <a:fld id="{742AC088-3B3B-4736-BFA3-D3B0AE6C3882}" type="datetime'''''''6''''7''''''%''''''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6032FF42-CF99-802E-A8DC-76B305994330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7964488" y="45799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4CDF7C-0902-437E-89A1-EB1DDAC35897}" type="datetime'''''''''''''''''''''''渠''''道'''''''''''''''''">
              <a:rPr kumimoji="1" lang="zh-CN" altLang="en-US" sz="1400" smtClean="0">
                <a:effectLst/>
              </a:rPr>
              <a:pPr/>
              <a:t>渠道</a:t>
            </a:fld>
            <a:endParaRPr kumimoji="1" lang="zh-CN" altLang="en-US" sz="1400" dirty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27254177-9CC3-7FE7-CCD4-47C2146C7438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1238250" y="21018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D260EA-7A9D-457E-B5D8-B02027014412}" type="datetime'''7''''''''9''''''''''''''''''''''77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77</a:t>
            </a:fld>
            <a:br>
              <a:rPr kumimoji="1" lang="zh-CN" altLang="en-US" sz="1400"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effectLst/>
                <a:ea typeface="等线" panose="02010600030101010101" pitchFamily="2" charset="-122"/>
              </a:rPr>
              <a:t>(</a:t>
            </a:r>
            <a:fld id="{55F6FD88-CA45-46F2-9D6C-6638B9917950}" type="datetime'''''''''''''''3''1''''''''''''''''''''''''%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5" name="Text Placeholder 2">
            <a:extLst>
              <a:ext uri="{FF2B5EF4-FFF2-40B4-BE49-F238E27FC236}">
                <a16:creationId xmlns:a16="http://schemas.microsoft.com/office/drawing/2014/main" id="{2D04BE7B-EDBA-2E81-5527-4DC1EDB66BC6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7964488" y="482282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C2C59D-273A-4C65-B5C6-86CA971BD1D4}" type="datetime'''''直''''''''营'''''">
              <a:rPr kumimoji="1" lang="zh-CN" altLang="en-US" sz="1400" smtClean="0"/>
              <a:pPr/>
              <a:t>直营</a:t>
            </a:fld>
            <a:endParaRPr kumimoji="1" lang="zh-CN" altLang="en-US" sz="1400" dirty="0"/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0E7CD9A4-6EF0-3734-19EE-21E341E2833E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310438" y="4749800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43B86F-3C54-419C-BF98-EF761EA51594}" type="datetime'1''''''''''''''''''''''''5''''''''''''18''''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18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B49DCEBB-3AFF-4339-B8DE-B84C60042633}" type="datetime'''''''''''''''''''''''''''''''''6''''''''9''''''''''''''''%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23" name="Text Placeholder 2">
            <a:extLst>
              <a:ext uri="{FF2B5EF4-FFF2-40B4-BE49-F238E27FC236}">
                <a16:creationId xmlns:a16="http://schemas.microsoft.com/office/drawing/2014/main" id="{3376C2FA-E8C1-B070-6FDC-FEDD6419F3BE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7310438" y="4610100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43D5C9-8896-4F52-B5D7-B58DA6862277}" type="datetime'''6''''''''4''''''''''''''''''''''''''''4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4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5DEA0B62-9CAE-4F77-A693-E59916C374B6}" type="datetime'''''''''2''''''''''''''''9''''''''''''''''''''%''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24" name="Text Placeholder 2">
            <a:extLst>
              <a:ext uri="{FF2B5EF4-FFF2-40B4-BE49-F238E27FC236}">
                <a16:creationId xmlns:a16="http://schemas.microsoft.com/office/drawing/2014/main" id="{8A968BC6-E9A5-E582-03EE-94AFFA7F44DE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7400925" y="4564063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684FC9-948E-430C-A80B-39EC846BEBE2}" type="datetime'''''''''''''''''''''''''''''''''''''''''''4''''''''''''''6'">
              <a:rPr kumimoji="1"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EADAE10C-FC71-4AB2-A692-546B14297778}" type="datetime'''''''''''''''''''''''2%'''''''''''''''''''''''''''''">
              <a:rPr kumimoji="1"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27" name="Text Placeholder 2">
            <a:extLst>
              <a:ext uri="{FF2B5EF4-FFF2-40B4-BE49-F238E27FC236}">
                <a16:creationId xmlns:a16="http://schemas.microsoft.com/office/drawing/2014/main" id="{4C587DF8-D833-4D56-C613-9D39A70A3B20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6115050" y="4746625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07FA23-5D00-4C12-9021-CB774DBE1C43}" type="datetime'''''1''''''''''''''''''''''''''''''''''''55''''''''''''8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58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A1C52793-B4AB-47A7-B62C-3FC86FCCBACE}" type="datetime'''''63%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6A8EE188-914A-457F-A989-65E7021DF0B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6115050" y="4589463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E3F3E4-28D9-4F1A-94C3-2FBBFE9E622C}" type="datetime'''''''''''8''''''6''''''2''''''''''''''''''''''''''''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2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3CDF12AD-0A30-4D0F-BE0C-D889D2BBCEC6}" type="datetime'''''''''3''''''''''''''''''''''''5''''''''''''''%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29" name="Text Placeholder 2">
            <a:extLst>
              <a:ext uri="{FF2B5EF4-FFF2-40B4-BE49-F238E27FC236}">
                <a16:creationId xmlns:a16="http://schemas.microsoft.com/office/drawing/2014/main" id="{1B45824F-886B-FA7A-F8E0-978A0FCE2D1A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6161088" y="453072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B3C5F4-8CFE-4535-B665-F98A56F846C2}" type="datetime'''''''''''5''''''''0'">
              <a:rPr kumimoji="1"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B7A97E83-93FD-49E0-984B-7D6ADC4E5574}" type="datetime'''''2''%'''''''''">
              <a:rPr kumimoji="1"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2DD4641F-06FC-5665-FB46-1BCFF2FFE54A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6851650" y="4738688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8003FC-0144-4FFA-B56A-CAF1A090D85D}" type="datetime'''''''''''''''''''''''1''''''6''''''9''''''''7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89D67D29-8858-4121-8A03-EC1E3AFC6ECE}" type="datetime'6''''''''''''''''''''0''''''''''''''''''''''''''''''%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31" name="Text Placeholder 2">
            <a:extLst>
              <a:ext uri="{FF2B5EF4-FFF2-40B4-BE49-F238E27FC236}">
                <a16:creationId xmlns:a16="http://schemas.microsoft.com/office/drawing/2014/main" id="{629E1E1A-092F-2939-668A-21533DD73427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6851650" y="4557713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2B81EC-9FAE-431E-B8DD-E6A1F2390BF5}" type="datetime'''1''''''''''''0''''9''''''''3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93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58E8ECF1-1BEB-48B7-91FD-D823181B30E5}" type="datetime'3''''''''''''''''''''''''''''''''''''''''''''''''9%''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32" name="Text Placeholder 2">
            <a:extLst>
              <a:ext uri="{FF2B5EF4-FFF2-40B4-BE49-F238E27FC236}">
                <a16:creationId xmlns:a16="http://schemas.microsoft.com/office/drawing/2014/main" id="{85CA3CC3-8C1A-4F5F-919D-2EAE21C3AA59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6897688" y="4483100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E39ED2-B13B-48DE-8BB8-08548322F34D}" type="datetime'''''''''''''''''''''''''''''44'''''''''''''''''''''''''''''">
              <a:rPr kumimoji="1" lang="zh-CN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DB3D7E92-F2DA-44D4-809D-BF0AEC1C7933}" type="datetime'''''''''''''''''''''''''''2''''''''''%'''''''''">
              <a:rPr kumimoji="1" lang="zh-CN" altLang="en-US" sz="14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35" name="Text Placeholder 2">
            <a:extLst>
              <a:ext uri="{FF2B5EF4-FFF2-40B4-BE49-F238E27FC236}">
                <a16:creationId xmlns:a16="http://schemas.microsoft.com/office/drawing/2014/main" id="{76740F35-9AA0-FC91-A60C-C7366433006D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378450" y="4749800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67C90-E07B-4C4C-A0C5-6AD1F572CAAF}" type="datetime'''''''''''1''''''''''''''''5''''''0''''''''''''''7''''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0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AFA1FAAC-A016-4015-8CDC-AC620B07DE42}" type="datetime'''''''''''6''''''''8''''''''''''''''''''''''%''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86A5B031-4C68-9232-8F13-AD070C6CC7D3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378450" y="4610100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CB51F1-AE9A-42D6-9CDA-18256D088C88}" type="datetime'''''''''''6''''''''''''''''''''''''''''''6''''6''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6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F7EF97E5-8B3C-4DA5-BBE3-0C547E0E0CA9}" type="datetime'''3''''0''''''''''''''''''''''''''''%''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37" name="Text Placeholder 2">
            <a:extLst>
              <a:ext uri="{FF2B5EF4-FFF2-40B4-BE49-F238E27FC236}">
                <a16:creationId xmlns:a16="http://schemas.microsoft.com/office/drawing/2014/main" id="{B10DC4BF-CDD2-C601-9C55-BCA05B0B3C8F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5424488" y="456247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D07E3E-6007-44E2-8331-26DBAD325941}" type="datetime'''''''''''''''''4''''''''''''''''''8'''''">
              <a:rPr kumimoji="1"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837213A4-10CB-445E-AF81-5EC6A25AD7E3}" type="datetime'''''''''''''''''''''''''''''2''''''''%'''''''''''''''">
              <a:rPr kumimoji="1" lang="zh-CN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9DB5FD37-0A8D-4505-2551-C7550B9F8E2E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743075" y="1435100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23760F-1A6F-406E-9F2C-4A15E574B500}" type="datetime'''''''''''''''''''''''''''4''''''''''''''''7''''''''2'''">
              <a:rPr kumimoji="1"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2</a:t>
            </a:fld>
            <a:br>
              <a:rPr kumimoji="1" lang="zh-CN" altLang="en-US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t>(</a:t>
            </a:r>
            <a:fld id="{2A542FE4-9BDD-4910-941E-659E8264EFC6}" type="datetime'''''''''''''''''''''''''''2''''''''''''''''%'''''''''''">
              <a:rPr kumimoji="1" lang="zh-CN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pic>
        <p:nvPicPr>
          <p:cNvPr id="275" name="图片 274">
            <a:extLst>
              <a:ext uri="{FF2B5EF4-FFF2-40B4-BE49-F238E27FC236}">
                <a16:creationId xmlns:a16="http://schemas.microsoft.com/office/drawing/2014/main" id="{EDCF5D3A-B3ED-ED50-3BE6-A6F4FC540405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74375">
            <a:off x="6522349" y="2918566"/>
            <a:ext cx="1337783" cy="68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592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EFCA63-0732-49FF-CC5B-349F73C571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E66E73-60E5-4F7C-D79C-83512DAB854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822107"/>
              </p:ext>
            </p:extLst>
          </p:nvPr>
        </p:nvGraphicFramePr>
        <p:xfrm>
          <a:off x="1192" y="85844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5" imgW="7772400" imgH="10058400" progId="TCLayout.ActiveDocument.1">
                  <p:embed/>
                </p:oleObj>
              </mc:Choice>
              <mc:Fallback>
                <p:oleObj name="think-cell 幻灯片" r:id="rId13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07A96A-9808-9DE4-304D-F1BBF75FA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6"/>
                      <a:stretch>
                        <a:fillRect/>
                      </a:stretch>
                    </p:blipFill>
                    <p:spPr>
                      <a:xfrm>
                        <a:off x="1192" y="85844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62" name="Chart 3">
            <a:extLst>
              <a:ext uri="{FF2B5EF4-FFF2-40B4-BE49-F238E27FC236}">
                <a16:creationId xmlns:a16="http://schemas.microsoft.com/office/drawing/2014/main" id="{0018B4FE-372F-A214-DBFC-5D147C3716E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491074"/>
              </p:ext>
            </p:extLst>
          </p:nvPr>
        </p:nvGraphicFramePr>
        <p:xfrm>
          <a:off x="196850" y="1123950"/>
          <a:ext cx="2687638" cy="1954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7"/>
          </a:graphicData>
        </a:graphic>
      </p:graphicFrame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FD3DD550-A428-87B4-17DA-0AA8D6FBB6D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784350" y="21574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C3537-8E3D-4AF9-9D58-B76DD6DF419C}" type="datetime'''''''''''7''''''''''''''''4.''''''''''''''7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7%</a:t>
            </a:fld>
            <a:endParaRPr lang="zh-CN" altLang="en-US" sz="10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FC2CADBF-FFA3-EBC4-3806-C31D114396C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850" y="21637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ECE856-E844-45F9-B7C3-7CEA69726AC0}" type="datetime'''''''''''''''''8''''''''''2.''''4''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.4%</a:t>
            </a:fld>
            <a:endParaRPr lang="zh-CN" altLang="en-US" sz="1000" dirty="0"/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AEE7EBDD-FC25-3C70-AD00-B9AB3180513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23850" y="28987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8F085D-E731-4E32-BD5C-42C35C8C8429}" type="datetime'''''''''''3''''.''''''''''''3%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E0008AA-CBEE-5123-84AD-7B2D22FF93E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0163" y="30861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3E344637-1E40-C237-838F-BF45E91D0CA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44563" y="1250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2FBB89-4D63-4065-BB47-B983408E33D7}" type="datetime'''1''''''''''1''''''''.''''''2''''''''''''''%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B645DACF-BE2D-6C70-4FF7-E15E2121611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977900" y="13970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467F2-770B-4539-B000-BF407B66FEA0}" type="datetime'''5''''''''''''''.''''''''''''''''3''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3B2A741B-3334-04C8-841D-271CAAFE7C7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44563" y="21431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6952B7-1AAB-431B-8F73-17AC7DAF1867}" type="datetime'''''''''''7''''''''''''8''''''''.''''7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7%</a:t>
            </a:fld>
            <a:endParaRPr lang="zh-CN" altLang="en-US" sz="1000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7245006F-D56F-6F95-2E52-704E5642F6C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977900" y="28844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3243F2-5468-402F-A740-FABB98715315}" type="datetime'4''''''''''''''''''.8''''''''''''''''''''%''''''''''''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F01893BE-E230-5A68-11E0-FDD6F59B32C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871538" y="30861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6E287802-6F97-BFBD-C95C-5E94D984C43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784350" y="1260475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C48EB1-FCCC-44E3-8E32-E301815DAA74}" type="datetime'''''''''13''''''.''''''''7''''''%''''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3ADB70EF-8173-4412-6D39-0D01F9884273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817688" y="14366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C8C93F-5CF0-4249-840E-DFE6BF9B94FD}" type="datetime'''''''''''''''''''5''''''''''''''''.''''''''''9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6C28496B-50D8-03BF-D48C-2A37896F9EF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323850" y="14128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7BDD03-8798-4177-B396-E84FB02CE0B8}" type="datetime'''''''''''''''''''''''''''''5.''''3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F3F2E9A9-6F6F-394C-6C1E-9362274192D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817688" y="28765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93B556-BCB6-4FC1-8728-409D4CBB0B68}" type="datetime'''''5''''''''''''''''''''''''''''.''''''''7''''''''%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3382B73A-0253-E860-FE15-168FD2AE517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711325" y="30861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42BEA0BD-AE65-48F7-CC4E-F2BE923AF74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392363" y="175260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C74B41-634F-4C7A-BA96-89F837E4C111}" type="datetime'''1''''''''''''0''''''''''''''''.8''''''''%'">
              <a:rPr lang="zh-CN" altLang="en-US" sz="1000" smtClean="0">
                <a:solidFill>
                  <a:schemeClr val="bg1"/>
                </a:solidFill>
              </a:rPr>
              <a:pPr/>
              <a:t>10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05B8C89A-F642-9517-3A2D-41B3BBD5928E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470150" y="20018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6B6F9-22ED-45C5-A7CA-31EC187D198E}" type="datetime'''''''''''''''''''''''''''5''''.''0''''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2F04603A-9D70-89E8-E994-BAC86B98527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405063" y="2447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ACD6A-DEA5-44A2-BB59-FF72A55B7CB3}" type="datetime'''78.''''''''''''''5''''''''''''%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5%</a:t>
            </a:fld>
            <a:endParaRPr lang="zh-CN" altLang="en-US" sz="1000" dirty="0"/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2F45E43D-2705-61F9-E41F-FFBF3411DA1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470150" y="28971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E92FF6-0041-4724-AB07-D6967732DCBD}" type="datetime'''''''''''5''''''''''''''''''.''''''6''''''''''''%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CF975FE9-31D4-D108-6EDB-F5CCD043205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486025" y="3086100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130871-4531-4A95-95F2-0AE0FA954B67}" type="datetime'''F''''''''''''''Y''''''2''''''''''7Q1''''''''''''''t''''d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AB8D948-054E-F494-EE2E-59037DA9E8FA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65100" y="9588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701CDE-6344-44B4-B852-5B1B44CF2CA7}" type="datetime'''255''''5''''''''''''''''''''''''''''''''''''2'''">
              <a:rPr kumimoji="1" lang="zh-CN" altLang="en-US" sz="1400" smtClean="0"/>
              <a:pPr/>
              <a:t>25552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A266FD-F8AD-B88E-07AD-41CBE457436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868363" y="78422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93552D-A0A7-4C94-B972-DA6FBB629002}" type="datetime'''''''''''''''''''''''''2''''''6''''''''''''''49''9'''''">
              <a:rPr kumimoji="1" lang="zh-CN" altLang="en-US" sz="1400" smtClean="0"/>
              <a:pPr/>
              <a:t>26499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CB88BA3-BCAE-D1E3-D2C6-0E8C0E8A6EE5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708150" y="78263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204938-0BC4-4DF2-A903-0A9BACD59487}" type="datetime'''2''''''''''''''''''''''''''''''''''''6''''''''6''''''''''83'">
              <a:rPr kumimoji="1" lang="zh-CN" altLang="en-US" sz="1400" smtClean="0"/>
              <a:pPr/>
              <a:t>26683</a:t>
            </a:fld>
            <a:endParaRPr kumimoji="1" lang="zh-CN" altLang="en-US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DF60706-4E88-94CA-2A19-CFDC0B88029F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589213" y="15811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A24805-FD18-46E2-B059-88C31C711D2C}" type="datetime'''''1''59''''2''''''''''''''5'''''''''''''''''''''''''">
              <a:rPr kumimoji="1" lang="zh-CN" altLang="en-US" sz="1400" smtClean="0"/>
              <a:pPr/>
              <a:t>15925</a:t>
            </a:fld>
            <a:endParaRPr kumimoji="1" lang="zh-CN" altLang="en-US" sz="1400" dirty="0"/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CE54FD73-4668-B5CB-87DF-ABC902F2896E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323850" y="12906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F70870-2B18-4429-AEF4-EA14DA22EEDF}" type="datetime'9''''''''''''''''''.''''''''''''''''''''0''''''''''%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20" name="Chart 3">
            <a:extLst>
              <a:ext uri="{FF2B5EF4-FFF2-40B4-BE49-F238E27FC236}">
                <a16:creationId xmlns:a16="http://schemas.microsoft.com/office/drawing/2014/main" id="{AA038F26-37CE-010D-ED28-5157D0E17F13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46436266"/>
              </p:ext>
            </p:extLst>
          </p:nvPr>
        </p:nvGraphicFramePr>
        <p:xfrm>
          <a:off x="3300413" y="914400"/>
          <a:ext cx="2501900" cy="2162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8"/>
          </a:graphicData>
        </a:graphic>
      </p:graphicFrame>
      <p:cxnSp>
        <p:nvCxnSpPr>
          <p:cNvPr id="976" name="直线连接符 975">
            <a:extLst>
              <a:ext uri="{FF2B5EF4-FFF2-40B4-BE49-F238E27FC236}">
                <a16:creationId xmlns:a16="http://schemas.microsoft.com/office/drawing/2014/main" id="{A4CD8922-B7BF-3385-5532-1A8926649A4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3381375" y="2014538"/>
            <a:ext cx="1588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6" name="Text Placeholder 2">
            <a:extLst>
              <a:ext uri="{FF2B5EF4-FFF2-40B4-BE49-F238E27FC236}">
                <a16:creationId xmlns:a16="http://schemas.microsoft.com/office/drawing/2014/main" id="{528AA85D-67C1-AEBC-F42B-17F970E974C7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4797425" y="28733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0ACDDB-26A8-4E53-8B86-27B1AFC4ADCF}" type="datetime'''6''''''''''''''.''''''''''''''''''''''''''0''''''''%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55976727-28D9-3204-F7F1-FBB15DACF336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427413" y="29035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4F3388-5B75-4FFF-95B8-CC4391E9189D}" type="datetime'''5''''''''''''''''.''0''''''''''''''''''''''''''''%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036448C9-D633-01C1-EE0A-782BB682AB59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262313" y="309086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A8804F84-D44A-2B47-9260-11623F6583A2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4005263" y="115728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F279FB-E380-4117-B6DB-B8085B080261}" type="datetime'''''''''1''4''''''''''''''''''''''''''''''''''''.''''1''''''%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4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1008CB5B-3179-70C0-7261-742688EBEF85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003675" y="14351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FB3D68-BBF3-4F3E-946C-C62C77763750}" type="datetime'6''''''''''''.''4''''''''''''''''''''''%'''''''''">
              <a:rPr lang="zh-CN" altLang="en-US" sz="1000" smtClean="0"/>
              <a:pPr/>
              <a:t>6.4%</a:t>
            </a:fld>
            <a:endParaRPr lang="zh-CN" altLang="en-US" sz="1000" dirty="0"/>
          </a:p>
        </p:txBody>
      </p:sp>
      <p:sp>
        <p:nvSpPr>
          <p:cNvPr id="967" name="Text Placeholder 2">
            <a:extLst>
              <a:ext uri="{FF2B5EF4-FFF2-40B4-BE49-F238E27FC236}">
                <a16:creationId xmlns:a16="http://schemas.microsoft.com/office/drawing/2014/main" id="{B8D0D441-01B8-D11D-396A-DAE28F5C8FC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3986213" y="20716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46EA33-3EC0-4922-94C4-8D2457AE5D8C}" type="datetime'7''''3''''''''''''''''''''''''''.''''''''5%''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63919F68-E376-975A-FB94-84E70ABE8513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019550" y="28654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AAA7C9-BD5C-40A4-966C-159C76AD541E}" type="datetime'''''''''''''''6''.''''''''''''0''''''%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ED8B8ED6-9784-D1BC-818E-FABE0B3FD5A4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041775" y="309086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C8BB82BD-4346-5E17-54F7-9647C0318931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4764088" y="1304925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13B2A2-CC57-4377-8539-E914420EEAA6}" type="datetime'''''''''13''''''''''''.3''''''''''''''''%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8B3884C7-0B32-0E15-7497-01DC6FBB6693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765675" y="15827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8F73B9-305B-420B-ABAA-03C3C26F0C36}" type="datetime'''5''''''''''''''''''''''''''''''.''''7''''%'''''''">
              <a:rPr lang="zh-CN" altLang="en-US" sz="1000" smtClean="0"/>
              <a:pPr/>
              <a:t>5.7%</a:t>
            </a:fld>
            <a:endParaRPr lang="zh-CN" altLang="en-US" sz="1000" dirty="0"/>
          </a:p>
        </p:txBody>
      </p:sp>
      <p:sp>
        <p:nvSpPr>
          <p:cNvPr id="966" name="Text Placeholder 2">
            <a:extLst>
              <a:ext uri="{FF2B5EF4-FFF2-40B4-BE49-F238E27FC236}">
                <a16:creationId xmlns:a16="http://schemas.microsoft.com/office/drawing/2014/main" id="{66B043B5-9BF8-A0BF-6FAA-17A1A8CCDB7A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764088" y="2170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3601CB-E065-40D8-AABE-7DC8A46DCD1E}" type="datetime'''''''''''7''''''''4''''''''.''''''9''''''%''''''''''''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968" name="Text Placeholder 2">
            <a:extLst>
              <a:ext uri="{FF2B5EF4-FFF2-40B4-BE49-F238E27FC236}">
                <a16:creationId xmlns:a16="http://schemas.microsoft.com/office/drawing/2014/main" id="{07D01D13-20EC-40B0-2816-B84A9203E54B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427413" y="2536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7E28F6-0830-4ECB-A6FF-BCCE71575ADD}" type="datetime'80''''''.7''''''''''''''''''''''%''''''''''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ACD8A098-CF08-70D4-130E-872CBD904F72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4819650" y="309086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6FF26773-EF27-271B-D686-DEDF83FE02CC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387975" y="20589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FFCD74-3476-4F26-BCB3-B34C18C32231}" type="datetime'''''''6''''''.''''''''''''''''0''''''''''''''''''''%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8999B27-214A-F0A5-2BDB-C1191370392E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391150" y="22225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BA56C9-7953-4B5C-BF63-B4CEB65FB74D}" type="datetime'3''''''''''''.6''''''''''''''''''''''%'''''''''''''''">
              <a:rPr lang="zh-CN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6%</a:t>
            </a:fld>
            <a:endParaRPr lang="zh-CN" altLang="en-US" sz="1000" dirty="0"/>
          </a:p>
        </p:txBody>
      </p:sp>
      <p:sp>
        <p:nvSpPr>
          <p:cNvPr id="965" name="Text Placeholder 2">
            <a:extLst>
              <a:ext uri="{FF2B5EF4-FFF2-40B4-BE49-F238E27FC236}">
                <a16:creationId xmlns:a16="http://schemas.microsoft.com/office/drawing/2014/main" id="{5D462CC0-FE87-C25B-C201-445D87A94E8A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322888" y="2500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336FB5-4BE5-40DE-AE66-21FC510CD5D4}" type="datetime'''''''8''''5''''''''''''.''''''''''''''''''''''''''5%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BEFBC97F-4FCB-5EA9-0FDD-38D053351B79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387975" y="29035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A42292-BC6E-4ACD-B721-AF7678C32A46}" type="datetime'''4''''''''''''''''''.''''''9''''''''''''''''''%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6C3653C0-49BB-729B-129E-7B999B9B9EC4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5532438" y="3090863"/>
            <a:ext cx="376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C4F84F-F3B8-4F6D-862C-7DFFA8AAEB2A}" type="datetime'5''''''''''''月''td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td</a:t>
            </a:fld>
            <a:endParaRPr lang="zh-CN" altLang="en-US" sz="1200" b="1" dirty="0"/>
          </a:p>
        </p:txBody>
      </p:sp>
      <p:sp useBgFill="1">
        <p:nvSpPr>
          <p:cNvPr id="971" name="Text Placeholder 2">
            <a:extLst>
              <a:ext uri="{FF2B5EF4-FFF2-40B4-BE49-F238E27FC236}">
                <a16:creationId xmlns:a16="http://schemas.microsoft.com/office/drawing/2014/main" id="{DA4AAAAB-56F1-FF26-8A07-47369012F9A3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175000" y="18224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3A9F12-EC0D-4C21-9DE6-B1A19DDA5957}" type="datetime'''''''''''''''''''5''''''''''''''1''8''8'''''''">
              <a:rPr kumimoji="1" lang="zh-CN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188</a:t>
            </a:fld>
            <a:endParaRPr kumimoji="1" lang="zh-CN" altLang="en-US" sz="1400" dirty="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BB3D4CCC-8D9B-FA45-3FB3-6FA411344968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3328988" y="22717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9CF432-BB00-4428-84A3-4E8735A36F46}" type="datetime'5.''''''''''''''''8''''''''%'''''''''''''''''''''''">
              <a:rPr lang="zh-CN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8%</a:t>
            </a:fld>
            <a:endParaRPr lang="zh-CN" altLang="en-US" sz="1000" dirty="0"/>
          </a:p>
        </p:txBody>
      </p:sp>
      <p:sp>
        <p:nvSpPr>
          <p:cNvPr id="972" name="Text Placeholder 2">
            <a:extLst>
              <a:ext uri="{FF2B5EF4-FFF2-40B4-BE49-F238E27FC236}">
                <a16:creationId xmlns:a16="http://schemas.microsoft.com/office/drawing/2014/main" id="{33483951-02AF-7C14-8FC1-35F1589BE8EF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3911600" y="78263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F17DF9-CCED-461D-968B-9BE5AD04D7CB}" type="datetime'12''''''''''090''''''''''''''''''''''''''''''''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090</a:t>
            </a:fld>
            <a:endParaRPr kumimoji="1" lang="zh-CN" altLang="en-US" sz="1400" dirty="0"/>
          </a:p>
        </p:txBody>
      </p:sp>
      <p:sp useBgFill="1">
        <p:nvSpPr>
          <p:cNvPr id="973" name="Text Placeholder 2">
            <a:extLst>
              <a:ext uri="{FF2B5EF4-FFF2-40B4-BE49-F238E27FC236}">
                <a16:creationId xmlns:a16="http://schemas.microsoft.com/office/drawing/2014/main" id="{4C025C59-5B73-8091-03DD-88277AF66028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4689475" y="1042988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43894-8B82-489E-8D21-C33C647CF060}" type="datetime'''''''''''''''''1''''0''''''''''''''''51''5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15</a:t>
            </a:fld>
            <a:endParaRPr kumimoji="1" lang="zh-CN" altLang="en-US" sz="1400" dirty="0"/>
          </a:p>
        </p:txBody>
      </p:sp>
      <p:sp useBgFill="1">
        <p:nvSpPr>
          <p:cNvPr id="974" name="Text Placeholder 2">
            <a:extLst>
              <a:ext uri="{FF2B5EF4-FFF2-40B4-BE49-F238E27FC236}">
                <a16:creationId xmlns:a16="http://schemas.microsoft.com/office/drawing/2014/main" id="{A18716A0-AFB4-64BB-42DA-45FBAC77E14B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513388" y="18859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268C04-F69E-4946-A73C-135B54285D4E}" type="datetime'''5''''''''4''1''''''''''''''''''''''''''''''0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10</a:t>
            </a:fld>
            <a:endParaRPr kumimoji="1" lang="zh-CN" altLang="en-US" sz="14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4F56E666-E0BC-CAB4-1F81-05A5034757D9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3298825" y="20478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4A0696-C7C4-4AD6-BFDC-A0516ECC01FC}" type="datetime'''''''''''8''''''''''''''''''''''''''''''''.''4''%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8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15" name="Chart 3">
            <a:extLst>
              <a:ext uri="{FF2B5EF4-FFF2-40B4-BE49-F238E27FC236}">
                <a16:creationId xmlns:a16="http://schemas.microsoft.com/office/drawing/2014/main" id="{B7A75772-28CF-4EDC-7C66-19454F454E62}"/>
              </a:ext>
            </a:extLst>
          </p:cNvPr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3207597128"/>
              </p:ext>
            </p:extLst>
          </p:nvPr>
        </p:nvGraphicFramePr>
        <p:xfrm>
          <a:off x="6046788" y="914400"/>
          <a:ext cx="2870200" cy="2157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9"/>
          </a:graphicData>
        </a:graphic>
      </p:graphicFrame>
      <p:cxnSp>
        <p:nvCxnSpPr>
          <p:cNvPr id="902" name="直线连接符 901">
            <a:extLst>
              <a:ext uri="{FF2B5EF4-FFF2-40B4-BE49-F238E27FC236}">
                <a16:creationId xmlns:a16="http://schemas.microsoft.com/office/drawing/2014/main" id="{76015601-2C7C-60DB-096B-68BE963CC6E5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H="1" flipV="1">
            <a:off x="7031038" y="1203325"/>
            <a:ext cx="15875" cy="57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31582AE8-DD0E-20B8-9DEB-C5E048C0AFF9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7812088" y="23145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3009B3-8B55-4002-839D-45AA50768E3B}" type="datetime'''''''''''''''''''''''''''''''8''7.''''5''''''''''%'''''">
              <a:rPr lang="zh-CN" altLang="en-US" sz="1000" smtClean="0">
                <a:effectLst/>
              </a:rPr>
              <a:pPr/>
              <a:t>87.5%</a:t>
            </a:fld>
            <a:endParaRPr lang="zh-CN" altLang="en-US" sz="1000" dirty="0"/>
          </a:p>
        </p:txBody>
      </p:sp>
      <p:sp>
        <p:nvSpPr>
          <p:cNvPr id="425" name="Text Placeholder 2">
            <a:extLst>
              <a:ext uri="{FF2B5EF4-FFF2-40B4-BE49-F238E27FC236}">
                <a16:creationId xmlns:a16="http://schemas.microsoft.com/office/drawing/2014/main" id="{185D6916-9E09-3D87-C359-A3B1DD21448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173788" y="28924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777253-2E24-4B31-BC18-02C80F12DBC4}" type="datetime'3''''''''''''''''''.''''''3%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43BBE557-963E-839D-0127-2C13F8F814FE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5926138" y="30861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A67A9E-4D9D-4C32-BF10-C7EE2B6EAFC8}" type="datetime'''''''''m4''w''''''''''''''''''''''''''''3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F9B740FE-9960-F52A-04F6-54939011DEE7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6891338" y="12604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54B586-E096-4E28-98AC-03A07A738D59}" type="datetime'''''''2''''''''''''0.''''''''''''''''''''7''''''''%'''''''''''">
              <a:rPr lang="zh-CN" altLang="en-US" sz="1000" smtClean="0">
                <a:solidFill>
                  <a:schemeClr val="bg1"/>
                </a:solidFill>
              </a:rPr>
              <a:pPr/>
              <a:t>20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2069E9E9-AD0F-94F0-AF89-DEE57BBDC9D5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173788" y="2227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93345A-A3A2-470A-8F1E-7A36735B4B8A}" type="datetime'''''''''''''''''''''''''''7''3''''''''.''3''''''''%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3%</a:t>
            </a:fld>
            <a:endParaRPr lang="zh-CN" altLang="en-US" sz="1000" dirty="0"/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77DCCEC7-DD78-D843-E92E-0407B29D0F72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6888163" y="13970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68A69B-8B8E-41DA-8A47-05EEDE0C7A05}" type="datetime'''''''''5''''''''''''''''''''''''''''''''''''.6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D0274F3B-E7A8-60AD-E089-B82B21CAE0B4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6854825" y="2084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11FC23-17C3-469D-B05E-C301E5A86370}" type="datetime'''''6''''3''''.''''''''''''5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5%</a:t>
            </a:fld>
            <a:endParaRPr lang="zh-CN" altLang="en-US" sz="1000" dirty="0"/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8FC5DA03-4E8A-8689-1551-C35126D72BD1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6854825" y="28194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0047F4-388C-4804-AC49-A8EF3E708AD9}" type="datetime'1''''''''''0''''''''''''''.2''''''''''''''%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65145705-22DE-D5C3-65D3-B9E8551C8D30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6827838" y="30861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9675BC-4DD0-45F4-A8EF-E0C494684733}" type="datetime'''''''''''m4''''''''''''''''''w''''''''4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CF92B002-BBB5-FF37-E4A7-C00EE042345F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7789863" y="14176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67CA91-22FE-45C4-BB11-80D1946C70A7}" type="datetime'''''''''''''''''''6''''.''3%''''''''''''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ED917095-0FDF-75A8-6C60-6E53F5B0CF9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7802563" y="15843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E49152-59CE-47ED-8EBD-FF128A5BADC5}" type="datetime'''''3''''''''''.''''''''''''''''''''''''''''2''%''''''''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2%</a:t>
            </a:fld>
            <a:endParaRPr lang="zh-CN" altLang="en-US" sz="1000" dirty="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14142F3-D8F1-B5C9-7163-0BA927E0B07E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6173788" y="15224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E5200A-E946-4EB9-923F-BF038C360DB8}" type="datetime'''''7.''8''%''''''''''''''''''''''''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8%</a:t>
            </a:fld>
            <a:endParaRPr lang="zh-CN" altLang="en-US" sz="1000" dirty="0"/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9523C459-40C9-3DB9-647B-DF51B0FF738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7789863" y="28987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46F97-1E84-437F-9389-00F2B6526982}" type="datetime'3''''''''''''''''''''''.''''''''''''''''0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DB9331E8-3FA9-0D6E-270A-D076CEC4E886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7729538" y="30861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FB6CA-72B8-429F-9CFC-09D32BF92E6B}" type="datetime'''''''''''m''''''''''''''5''''''w''1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79AB3370-7A34-0668-8068-984990137ADA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8502650" y="14382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C67ED8-0918-4452-BBDA-4B1F0E94DB1E}" type="datetime'''7''''''''.''2''%''''''''''''''''''''''''''''''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EB7D1ED2-253B-8691-6D11-010E27882160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8497888" y="16224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770405-57E8-4A32-8963-8F2262F0748C}" type="datetime'''''''5''''''''''''''''''.5''''''''''''''''''''''''''%'">
              <a:rPr lang="zh-CN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5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C6E7DE8B-D876-EE6F-0408-204F8EC7D346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8505825" y="2338388"/>
            <a:ext cx="352425" cy="1365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EBE7DC-64AC-4C4A-A198-FB6073C719C9}" type="datetime'''''''''''''8''''4.''''''''''''''''''''''''3''''%'''''">
              <a:rPr lang="zh-CN" altLang="en-US" sz="1000" smtClean="0">
                <a:effectLst/>
              </a:rPr>
              <a:pPr/>
              <a:t>84.3%</a:t>
            </a:fld>
            <a:endParaRPr lang="zh-CN" altLang="en-US" sz="1000" dirty="0"/>
          </a:p>
        </p:txBody>
      </p:sp>
      <p:sp>
        <p:nvSpPr>
          <p:cNvPr id="441" name="Text Placeholder 2">
            <a:extLst>
              <a:ext uri="{FF2B5EF4-FFF2-40B4-BE49-F238E27FC236}">
                <a16:creationId xmlns:a16="http://schemas.microsoft.com/office/drawing/2014/main" id="{17009DB2-3280-53E8-8D71-4901EAEBE0D0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8502650" y="28987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748A65-96BF-4CCE-A40A-FD9123A5B4A4}" type="datetime'''3''''''''.''0''''''''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3096D9E8-0193-4D98-D3A0-FD4824B4DFEB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auto">
          <a:xfrm>
            <a:off x="8631238" y="30861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48A7BF-B0EF-46F3-9880-3BC0A15C2E0C}" type="datetime'''''''''''''''''''''m5w''2''''''''''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>
        <p:nvSpPr>
          <p:cNvPr id="376" name="Text Placeholder 2">
            <a:extLst>
              <a:ext uri="{FF2B5EF4-FFF2-40B4-BE49-F238E27FC236}">
                <a16:creationId xmlns:a16="http://schemas.microsoft.com/office/drawing/2014/main" id="{CBF8A81E-E774-DF5F-E1CD-C2EE7DBB8995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5929313" y="9191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0D2220-8926-4EB3-8894-645EEA3C59CE}" type="datetime'''2''''''''''''46''''''''''''''8'''''''">
              <a:rPr kumimoji="1" lang="zh-CN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68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B45FC45B-2699-2273-DDDC-3765F3BFE8E8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6824663" y="78263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1B2927-F0ED-4F3B-8A60-C421404C3400}" type="datetime'''2''''''8''''''''''''3''1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1</a:t>
            </a:fld>
            <a:endParaRPr kumimoji="1" lang="zh-CN" altLang="en-US" sz="1400" dirty="0"/>
          </a:p>
        </p:txBody>
      </p:sp>
      <p:sp>
        <p:nvSpPr>
          <p:cNvPr id="384" name="Text Placeholder 2">
            <a:extLst>
              <a:ext uri="{FF2B5EF4-FFF2-40B4-BE49-F238E27FC236}">
                <a16:creationId xmlns:a16="http://schemas.microsoft.com/office/drawing/2014/main" id="{CD6D7CE1-DEDB-879A-B6AB-6F83EAB0657F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7732713" y="113188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E05A96-85A6-4F9C-B407-226523A03785}" type="datetime'''''2''''''''''''''''''''20''''''''''''''5'''''''''''''''''">
              <a:rPr kumimoji="1" lang="zh-CN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05</a:t>
            </a:fld>
            <a:endParaRPr kumimoji="1" lang="zh-CN" altLang="en-US" sz="1400" dirty="0"/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85F1C986-21B0-5AA1-FAE3-6FAABBA00E8C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8567738" y="111442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71668D-58B7-4468-AB6C-F05689078419}" type="datetime'''''''2''''''''''''''''''''''1''''''''''''85'''''''''''''''">
              <a:rPr kumimoji="1" lang="zh-CN" altLang="en-US" sz="1400" smtClean="0"/>
              <a:pPr/>
              <a:t>2185</a:t>
            </a:fld>
            <a:endParaRPr kumimoji="1" lang="zh-CN" altLang="en-US" sz="1400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09EF8530-3C1C-1A27-8D59-7FEE43EE220B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6173788" y="13192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132DF9-1DC0-4FE2-86FF-021BA40D98A6}" type="datetime'''1''5''''''''''''''.''''''''''''''''6''''%''''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E30BE9A5-0AEB-520A-2D40-2C19EA50CA18}"/>
              </a:ext>
            </a:extLst>
          </p:cNvPr>
          <p:cNvGraphicFramePr/>
          <p:nvPr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832204576"/>
              </p:ext>
            </p:extLst>
          </p:nvPr>
        </p:nvGraphicFramePr>
        <p:xfrm>
          <a:off x="196850" y="3967163"/>
          <a:ext cx="8269288" cy="2398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0"/>
          </a:graphicData>
        </a:graphic>
      </p:graphicFrame>
      <p:cxnSp>
        <p:nvCxnSpPr>
          <p:cNvPr id="874" name="直线连接符 873">
            <a:extLst>
              <a:ext uri="{FF2B5EF4-FFF2-40B4-BE49-F238E27FC236}">
                <a16:creationId xmlns:a16="http://schemas.microsoft.com/office/drawing/2014/main" id="{6C5CE13F-87F0-376C-5EA3-01194D885630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 bwMode="auto">
          <a:xfrm>
            <a:off x="1798638" y="50101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6" name="直线连接符 875">
            <a:extLst>
              <a:ext uri="{FF2B5EF4-FFF2-40B4-BE49-F238E27FC236}">
                <a16:creationId xmlns:a16="http://schemas.microsoft.com/office/drawing/2014/main" id="{1E5A460B-1542-CC33-3FA9-42331916D157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 flipH="1">
            <a:off x="7891463" y="5284788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9" name="直线连接符 828">
            <a:extLst>
              <a:ext uri="{FF2B5EF4-FFF2-40B4-BE49-F238E27FC236}">
                <a16:creationId xmlns:a16="http://schemas.microsoft.com/office/drawing/2014/main" id="{24A5D1F9-C4C2-AD8D-1E7C-5B4659286C3B}"/>
              </a:ext>
            </a:extLst>
          </p:cNvPr>
          <p:cNvCxnSpPr>
            <a:cxnSpLocks/>
          </p:cNvCxnSpPr>
          <p:nvPr>
            <p:custDataLst>
              <p:tags r:id="rId82"/>
            </p:custDataLst>
          </p:nvPr>
        </p:nvCxnSpPr>
        <p:spPr bwMode="auto">
          <a:xfrm flipV="1">
            <a:off x="5851525" y="520541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4" name="直线连接符 823">
            <a:extLst>
              <a:ext uri="{FF2B5EF4-FFF2-40B4-BE49-F238E27FC236}">
                <a16:creationId xmlns:a16="http://schemas.microsoft.com/office/drawing/2014/main" id="{BC89FDAB-592F-89FA-CEB2-4C1F5A3251EC}"/>
              </a:ext>
            </a:extLst>
          </p:cNvPr>
          <p:cNvCxnSpPr>
            <a:cxnSpLocks/>
          </p:cNvCxnSpPr>
          <p:nvPr>
            <p:custDataLst>
              <p:tags r:id="rId83"/>
            </p:custDataLst>
          </p:nvPr>
        </p:nvCxnSpPr>
        <p:spPr bwMode="auto">
          <a:xfrm flipV="1">
            <a:off x="785813" y="519906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5" name="直线连接符 824">
            <a:extLst>
              <a:ext uri="{FF2B5EF4-FFF2-40B4-BE49-F238E27FC236}">
                <a16:creationId xmlns:a16="http://schemas.microsoft.com/office/drawing/2014/main" id="{554C7677-5C7B-D06D-1B2A-D77755D25AB3}"/>
              </a:ext>
            </a:extLst>
          </p:cNvPr>
          <p:cNvCxnSpPr>
            <a:cxnSpLocks/>
          </p:cNvCxnSpPr>
          <p:nvPr>
            <p:custDataLst>
              <p:tags r:id="rId84"/>
            </p:custDataLst>
          </p:nvPr>
        </p:nvCxnSpPr>
        <p:spPr bwMode="auto">
          <a:xfrm flipV="1">
            <a:off x="1798638" y="5157788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0" name="文本占位符 2">
            <a:extLst>
              <a:ext uri="{FF2B5EF4-FFF2-40B4-BE49-F238E27FC236}">
                <a16:creationId xmlns:a16="http://schemas.microsoft.com/office/drawing/2014/main" id="{E6F8851E-C825-794E-DDDF-EBCB25DFF316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3648075" y="45624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939DDF-4B2F-4BA8-A40B-F35C145B2D0B}" type="datetime'''''''''''6''''''''''''''''''4''''''''''.''2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871" name="文本占位符 2">
            <a:extLst>
              <a:ext uri="{FF2B5EF4-FFF2-40B4-BE49-F238E27FC236}">
                <a16:creationId xmlns:a16="http://schemas.microsoft.com/office/drawing/2014/main" id="{6E835EA2-65F7-C79E-1FBF-C6B0B218C459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609600" y="49244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3E37BB-FDD6-4895-813D-DD4F9769E585}" type="datetime'4''''''''1''.''''''''''''''''''5''''''''''''''''%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4" name="文本占位符 2">
            <a:extLst>
              <a:ext uri="{FF2B5EF4-FFF2-40B4-BE49-F238E27FC236}">
                <a16:creationId xmlns:a16="http://schemas.microsoft.com/office/drawing/2014/main" id="{8E9879DF-7639-2FFA-3B64-E41EF82AA4B8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622425" y="46720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FB5202-BCD0-46B0-BF15-15056A594E1B}" type="datetime'''''''5''''''''''''''''''''7.''''''''''3''''''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3%</a:t>
            </a:fld>
            <a:endParaRPr lang="zh-CN" altLang="en-US" sz="1000" dirty="0"/>
          </a:p>
        </p:txBody>
      </p:sp>
      <p:sp useBgFill="1">
        <p:nvSpPr>
          <p:cNvPr id="820" name="文本占位符 2">
            <a:extLst>
              <a:ext uri="{FF2B5EF4-FFF2-40B4-BE49-F238E27FC236}">
                <a16:creationId xmlns:a16="http://schemas.microsoft.com/office/drawing/2014/main" id="{AD4B17F6-83E1-0188-B743-6939AA657357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1622425" y="5197475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0FAAAD-388F-4D32-B79E-A400FFAFF887}" type="datetime'3''''9''''''''''.''''''7''''''''''''''''''%''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07" name="Text Placeholder 2">
            <a:extLst>
              <a:ext uri="{FF2B5EF4-FFF2-40B4-BE49-F238E27FC236}">
                <a16:creationId xmlns:a16="http://schemas.microsoft.com/office/drawing/2014/main" id="{D414DF20-EF16-1A68-F3F3-4A628DFC7926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500063" y="63420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AFE2E1-D849-4334-AEF0-BC3F35E1A7BE}" type="datetime'''''''''''''''F''Y''''''''''''''''''''2''''''''''6''''''''Q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kumimoji="1" lang="zh-CN" altLang="en-US" sz="1400" dirty="0"/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599FEF3E-F0AC-CCDD-FBB9-2B29AEA8F0C5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auto">
          <a:xfrm>
            <a:off x="1512888" y="63420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7B25C-C796-4AC7-97AB-FB08461DCEE4}" type="datetime'FY''2''''''''''''''''6''''''''''Q3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kumimoji="1" lang="zh-CN" altLang="en-US" sz="1400" dirty="0"/>
          </a:p>
        </p:txBody>
      </p:sp>
      <p:sp useBgFill="1">
        <p:nvSpPr>
          <p:cNvPr id="869" name="文本占位符 2">
            <a:extLst>
              <a:ext uri="{FF2B5EF4-FFF2-40B4-BE49-F238E27FC236}">
                <a16:creationId xmlns:a16="http://schemas.microsoft.com/office/drawing/2014/main" id="{647EC788-2279-1A16-DBBF-C19BC6439236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2865438" y="4918075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1C448F-A658-42C2-BB03-FEFC6C969913}" type="datetime'''''''''''4''''''''''''''9.5''''''%'''''''''''''''''''">
              <a:rPr lang="zh-CN" altLang="en-US" sz="1000" smtClean="0">
                <a:ea typeface="等线" panose="02010600030101010101" pitchFamily="2" charset="-122"/>
              </a:rPr>
              <a:pPr/>
              <a:t>49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6" name="文本占位符 2">
            <a:extLst>
              <a:ext uri="{FF2B5EF4-FFF2-40B4-BE49-F238E27FC236}">
                <a16:creationId xmlns:a16="http://schemas.microsoft.com/office/drawing/2014/main" id="{26D71F32-6455-5690-B676-01AFE9942098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2603500" y="3935413"/>
            <a:ext cx="417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0FC79A-EBAA-4312-AE91-8B090BAFD368}" type="datetime'1''''''''''''''0''''''''''''''''''''''3''.''''2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.2%</a:t>
            </a:fld>
            <a:endParaRPr lang="zh-CN" altLang="en-US" sz="1000" dirty="0"/>
          </a:p>
        </p:txBody>
      </p:sp>
      <p:sp>
        <p:nvSpPr>
          <p:cNvPr id="577" name="文本占位符 2">
            <a:extLst>
              <a:ext uri="{FF2B5EF4-FFF2-40B4-BE49-F238E27FC236}">
                <a16:creationId xmlns:a16="http://schemas.microsoft.com/office/drawing/2014/main" id="{046DA61A-377F-8BC0-3607-1AAC16A8B5F3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2635250" y="5591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D3D266-E97B-464E-91D5-5341DEE1AB88}" type="datetime'''15''''''''''''''.1''%''''''''''''''''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1%</a:t>
            </a:fld>
            <a:endParaRPr lang="zh-CN" altLang="en-US" sz="1000" dirty="0"/>
          </a:p>
        </p:txBody>
      </p:sp>
      <p:sp>
        <p:nvSpPr>
          <p:cNvPr id="819" name="文本占位符 2">
            <a:extLst>
              <a:ext uri="{FF2B5EF4-FFF2-40B4-BE49-F238E27FC236}">
                <a16:creationId xmlns:a16="http://schemas.microsoft.com/office/drawing/2014/main" id="{ABB74B38-B999-E253-C6BF-FADDD3CCB55D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2635250" y="52530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F762C8-0FB0-45E8-933D-A11C5CA77BC4}" type="datetime'''''''''''''''''''''''''''''''''''''''''''''3''''6.''''''2%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10" name="Text Placeholder 2">
            <a:extLst>
              <a:ext uri="{FF2B5EF4-FFF2-40B4-BE49-F238E27FC236}">
                <a16:creationId xmlns:a16="http://schemas.microsoft.com/office/drawing/2014/main" id="{490C3A49-C340-1A72-8295-D73495143A7C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2525713" y="63420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A588F-8E4A-4187-949A-C38549230B34}" type="datetime'''''F''Y''''2''''6Q''''4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kumimoji="1" lang="zh-CN" altLang="en-US" sz="1400" dirty="0"/>
          </a:p>
        </p:txBody>
      </p:sp>
      <p:sp useBgFill="1">
        <p:nvSpPr>
          <p:cNvPr id="868" name="文本占位符 2">
            <a:extLst>
              <a:ext uri="{FF2B5EF4-FFF2-40B4-BE49-F238E27FC236}">
                <a16:creationId xmlns:a16="http://schemas.microsoft.com/office/drawing/2014/main" id="{275131F7-5921-389F-CD97-A6A4908480D5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3878263" y="5230813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BB743C-3A4B-4500-BA66-3F33D3C991AA}" type="datetime'''''''''''''''2''9''.9''''''''''''''''%'''''''''''''''''''''">
              <a:rPr lang="zh-CN" altLang="en-US" sz="1000" smtClean="0">
                <a:ea typeface="等线" panose="02010600030101010101" pitchFamily="2" charset="-122"/>
              </a:rPr>
              <a:pPr/>
              <a:t>29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579" name="文本占位符 2">
            <a:extLst>
              <a:ext uri="{FF2B5EF4-FFF2-40B4-BE49-F238E27FC236}">
                <a16:creationId xmlns:a16="http://schemas.microsoft.com/office/drawing/2014/main" id="{F47A5751-BD20-FC0A-71AB-CC4CA91A5360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3878263" y="4960938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59D3A7-33A8-407A-ACF2-5352AB7671AB}" type="datetime'46.''''9''''''''''''%'">
              <a:rPr lang="zh-CN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.9%</a:t>
            </a:fld>
            <a:endParaRPr lang="zh-CN" altLang="en-US" sz="1000" dirty="0"/>
          </a:p>
        </p:txBody>
      </p:sp>
      <p:sp>
        <p:nvSpPr>
          <p:cNvPr id="822" name="文本占位符 2">
            <a:extLst>
              <a:ext uri="{FF2B5EF4-FFF2-40B4-BE49-F238E27FC236}">
                <a16:creationId xmlns:a16="http://schemas.microsoft.com/office/drawing/2014/main" id="{30B193A8-2705-C190-AE9F-8DC8D20917CD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609600" y="5238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A8DD23-0A78-448B-AD1F-1F1021C5BA23}" type="datetime'''3''''''''''''7''''''''''''''''''.''''''''''''''1%''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11" name="Text Placeholder 2">
            <a:extLst>
              <a:ext uri="{FF2B5EF4-FFF2-40B4-BE49-F238E27FC236}">
                <a16:creationId xmlns:a16="http://schemas.microsoft.com/office/drawing/2014/main" id="{2C336068-BFCC-5BA7-4E72-98368DDF1C04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3538538" y="63420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ADEF9C-F873-43BA-98A6-F8A340C70A46}" type="datetime'''''''F''''''Y''''''2''''7''''''''''Q''''''1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kumimoji="1" lang="zh-CN" altLang="en-US" sz="1400" dirty="0"/>
          </a:p>
        </p:txBody>
      </p:sp>
      <p:sp>
        <p:nvSpPr>
          <p:cNvPr id="688" name="Text Placeholder 2">
            <a:extLst>
              <a:ext uri="{FF2B5EF4-FFF2-40B4-BE49-F238E27FC236}">
                <a16:creationId xmlns:a16="http://schemas.microsoft.com/office/drawing/2014/main" id="{4F2762C8-3479-8F00-5DD3-78E6D757CD11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4699000" y="63420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A21C71-B0EF-46DC-AAD2-B6EC5299B5BB}" type="datetime'''''''''''''''''''''''''''''2''''''''''''''''''''''''月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kumimoji="1" lang="zh-CN" altLang="en-US" sz="1400" dirty="0"/>
          </a:p>
        </p:txBody>
      </p:sp>
      <p:sp>
        <p:nvSpPr>
          <p:cNvPr id="866" name="文本占位符 2">
            <a:extLst>
              <a:ext uri="{FF2B5EF4-FFF2-40B4-BE49-F238E27FC236}">
                <a16:creationId xmlns:a16="http://schemas.microsoft.com/office/drawing/2014/main" id="{21770BC6-C4F4-0980-F349-89E6E1FA64B7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5675313" y="47466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069258-B485-4F26-9151-DC41EDA003C2}" type="datetime'''''''''''''5''''''2''.''''''''6''''''''%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711" name="文本占位符 2">
            <a:extLst>
              <a:ext uri="{FF2B5EF4-FFF2-40B4-BE49-F238E27FC236}">
                <a16:creationId xmlns:a16="http://schemas.microsoft.com/office/drawing/2014/main" id="{32B5E470-242F-5934-709B-609CA77704E6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5643563" y="4103688"/>
            <a:ext cx="417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F5EE67-3E89-4FB7-8F44-20BEA7308563}" type="datetime'''''''''''''''1''''0''''7''''''''''.''''''''''''9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7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816" name="文本占位符 2">
            <a:extLst>
              <a:ext uri="{FF2B5EF4-FFF2-40B4-BE49-F238E27FC236}">
                <a16:creationId xmlns:a16="http://schemas.microsoft.com/office/drawing/2014/main" id="{4655D4DD-A0DF-1A3B-F782-8BCE40C03E8B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5675313" y="5245100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25B462-CD7B-494F-8142-6194050505AE}" type="datetime'''''''''''3''''''''''6''''''.7''''%''''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1" name="文本占位符 2">
            <a:extLst>
              <a:ext uri="{FF2B5EF4-FFF2-40B4-BE49-F238E27FC236}">
                <a16:creationId xmlns:a16="http://schemas.microsoft.com/office/drawing/2014/main" id="{2C4175E6-469C-35BE-D142-F354A47A738B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609600" y="44211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3ACE5E-C194-4254-ABC3-7C4D60E630DA}" type="datetime'''''''''73''''''''''''''.''''''''''''0''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0%</a:t>
            </a:fld>
            <a:endParaRPr lang="zh-CN" altLang="en-US" sz="1000" dirty="0"/>
          </a:p>
        </p:txBody>
      </p:sp>
      <p:sp>
        <p:nvSpPr>
          <p:cNvPr id="689" name="Text Placeholder 2">
            <a:extLst>
              <a:ext uri="{FF2B5EF4-FFF2-40B4-BE49-F238E27FC236}">
                <a16:creationId xmlns:a16="http://schemas.microsoft.com/office/drawing/2014/main" id="{C8058F64-4230-F84A-6E96-7C63E65A9989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5711825" y="63420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44F02B-3DA1-45D6-A717-6DA51CC74E30}" type="datetime'3''''''''''''月''''''''''''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kumimoji="1" lang="zh-CN" altLang="en-US" sz="1400" dirty="0"/>
          </a:p>
        </p:txBody>
      </p:sp>
      <p:sp>
        <p:nvSpPr>
          <p:cNvPr id="865" name="文本占位符 2">
            <a:extLst>
              <a:ext uri="{FF2B5EF4-FFF2-40B4-BE49-F238E27FC236}">
                <a16:creationId xmlns:a16="http://schemas.microsoft.com/office/drawing/2014/main" id="{9314C8A0-84F5-2AEE-0670-41449519CE5C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6688138" y="48529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553E2C-6538-4547-AB45-37A16E0E5F2A}" type="datetime'''''''''''''''''4''''6''''''''.''''0''''''''%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703" name="文本占位符 2">
            <a:extLst>
              <a:ext uri="{FF2B5EF4-FFF2-40B4-BE49-F238E27FC236}">
                <a16:creationId xmlns:a16="http://schemas.microsoft.com/office/drawing/2014/main" id="{390469DA-5E98-8FEE-165B-C9F36DDE41E0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6688138" y="4452938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9279FA-B2A3-4826-A6E4-1D94089D4F9D}" type="datetime'7''''''''''''''''''''0''''.''''''''''''''''9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15" name="文本占位符 2">
            <a:extLst>
              <a:ext uri="{FF2B5EF4-FFF2-40B4-BE49-F238E27FC236}">
                <a16:creationId xmlns:a16="http://schemas.microsoft.com/office/drawing/2014/main" id="{2F7A079D-3CDD-112F-3B06-8AB361D46047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6688138" y="53244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7A6F7-DCEE-4BEC-BC18-01349D473F69}" type="datetime'''''''''3''''''1''''''''''''''.8''%''''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90" name="Text Placeholder 2">
            <a:extLst>
              <a:ext uri="{FF2B5EF4-FFF2-40B4-BE49-F238E27FC236}">
                <a16:creationId xmlns:a16="http://schemas.microsoft.com/office/drawing/2014/main" id="{34183C35-4981-C972-1DDB-619FA61CD4E5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auto">
          <a:xfrm>
            <a:off x="6724650" y="63420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233F3D-624B-4D57-90D2-DBB3770DDB8C}" type="datetime'4''月''''''''''''''''''''''''''''''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kumimoji="1" lang="zh-CN" altLang="en-US" sz="1400" dirty="0"/>
          </a:p>
        </p:txBody>
      </p:sp>
      <p:sp>
        <p:nvSpPr>
          <p:cNvPr id="864" name="文本占位符 2">
            <a:extLst>
              <a:ext uri="{FF2B5EF4-FFF2-40B4-BE49-F238E27FC236}">
                <a16:creationId xmlns:a16="http://schemas.microsoft.com/office/drawing/2014/main" id="{C577AB46-52F3-7FDB-D152-AB747334C3E7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7931150" y="52165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BE9CDC-EB23-4CA9-B44B-FD3C19F2FEBD}" type="datetime'''3''''''''''''''0''''''''''''''.9''''''''%'''''''''''">
              <a:rPr lang="zh-CN" altLang="en-US" sz="1000" smtClean="0">
                <a:ea typeface="等线" panose="02010600030101010101" pitchFamily="2" charset="-122"/>
              </a:rPr>
              <a:pPr/>
              <a:t>30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0" name="文本占位符 2">
            <a:extLst>
              <a:ext uri="{FF2B5EF4-FFF2-40B4-BE49-F238E27FC236}">
                <a16:creationId xmlns:a16="http://schemas.microsoft.com/office/drawing/2014/main" id="{1B3EFA70-AA13-F7B0-1247-8336548D6E5A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609600" y="54387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DB83FD-7D57-489B-AC43-DB62A9221077}" type="datetime'''''''''''2''''''4.''''6''''''''''''''''''''''''''''''''''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6%</a:t>
            </a:fld>
            <a:endParaRPr lang="zh-CN" altLang="en-US" sz="1000" dirty="0"/>
          </a:p>
        </p:txBody>
      </p:sp>
      <p:sp>
        <p:nvSpPr>
          <p:cNvPr id="744" name="文本占位符 2">
            <a:extLst>
              <a:ext uri="{FF2B5EF4-FFF2-40B4-BE49-F238E27FC236}">
                <a16:creationId xmlns:a16="http://schemas.microsoft.com/office/drawing/2014/main" id="{421F72F7-CF2E-6230-B242-DFE586205615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7931150" y="5848350"/>
            <a:ext cx="325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A1746A-FC90-48E6-83BE-8F29EA0C9128}" type="datetime'''''''''''''''''''''''''''-''8''''''''''''''''''.''''''5''%'''">
              <a:rPr lang="zh-CN" altLang="en-US" sz="1000" smtClean="0">
                <a:ea typeface="等线" panose="02010600030101010101" pitchFamily="2" charset="-122"/>
              </a:rPr>
              <a:pPr/>
              <a:t>-8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45" name="文本占位符 2">
            <a:extLst>
              <a:ext uri="{FF2B5EF4-FFF2-40B4-BE49-F238E27FC236}">
                <a16:creationId xmlns:a16="http://schemas.microsoft.com/office/drawing/2014/main" id="{43A48B09-95B3-3E89-6597-85EE57C02344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7700963" y="4786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2CA54F-A5A5-4A60-9B92-1503FF7E98CF}" type="datetime'''5''''''''''0''''''''''''.''''''2''%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21" name="文本占位符 2">
            <a:extLst>
              <a:ext uri="{FF2B5EF4-FFF2-40B4-BE49-F238E27FC236}">
                <a16:creationId xmlns:a16="http://schemas.microsoft.com/office/drawing/2014/main" id="{A4AC409A-5643-BEFE-D8EA-71AAFAE4E9E6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7700963" y="5402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5A70C1-7E5A-4C40-BF30-B0761A92193A}" type="datetime'''''''''''''''''''''26''''''''''''''''''''''.''''''''9''%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91" name="Text Placeholder 2">
            <a:extLst>
              <a:ext uri="{FF2B5EF4-FFF2-40B4-BE49-F238E27FC236}">
                <a16:creationId xmlns:a16="http://schemas.microsoft.com/office/drawing/2014/main" id="{7C04A12B-D2AB-D48E-878F-88140334BABA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7591425" y="6342063"/>
            <a:ext cx="573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752D72-0E5B-478D-B182-951398789295}" type="datetime'''5''''''月''''''''''''''m''''''''''''''''t''d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kumimoji="1" lang="zh-CN" altLang="en-US" sz="1400" dirty="0"/>
          </a:p>
        </p:txBody>
      </p:sp>
      <p:sp useBgFill="1">
        <p:nvSpPr>
          <p:cNvPr id="870" name="文本占位符 2">
            <a:extLst>
              <a:ext uri="{FF2B5EF4-FFF2-40B4-BE49-F238E27FC236}">
                <a16:creationId xmlns:a16="http://schemas.microsoft.com/office/drawing/2014/main" id="{052A7DFF-6EEB-CDC4-F937-68E1208E8243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1622425" y="4873625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04D360-2DAF-4E31-97D1-34BBD04797C2}" type="datetime'''4''''''''''''4''''.''''''7''''''''''''''''''''''''''''%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cxnSp>
        <p:nvCxnSpPr>
          <p:cNvPr id="774" name="直线连接符 773">
            <a:extLst>
              <a:ext uri="{FF2B5EF4-FFF2-40B4-BE49-F238E27FC236}">
                <a16:creationId xmlns:a16="http://schemas.microsoft.com/office/drawing/2014/main" id="{3B80C3B0-BFF4-9C45-5168-366797AA957F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gray">
          <a:xfrm>
            <a:off x="704850" y="6713538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6" name="直线连接符 775">
            <a:extLst>
              <a:ext uri="{FF2B5EF4-FFF2-40B4-BE49-F238E27FC236}">
                <a16:creationId xmlns:a16="http://schemas.microsoft.com/office/drawing/2014/main" id="{3817CBD3-9D38-D239-879B-288C23785AA3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gray">
          <a:xfrm>
            <a:off x="1752600" y="6713538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7" name="直线连接符 776">
            <a:extLst>
              <a:ext uri="{FF2B5EF4-FFF2-40B4-BE49-F238E27FC236}">
                <a16:creationId xmlns:a16="http://schemas.microsoft.com/office/drawing/2014/main" id="{8C4ED754-9DED-7631-D807-21B44ED139F6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gray">
          <a:xfrm>
            <a:off x="2978150" y="6713538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8" name="直线连接符 777">
            <a:extLst>
              <a:ext uri="{FF2B5EF4-FFF2-40B4-BE49-F238E27FC236}">
                <a16:creationId xmlns:a16="http://schemas.microsoft.com/office/drawing/2014/main" id="{C063342D-891E-615D-2260-DA7C8E9AD6B1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4203700" y="6713538"/>
            <a:ext cx="3429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8" name="Text Placeholder 2">
            <a:extLst>
              <a:ext uri="{FF2B5EF4-FFF2-40B4-BE49-F238E27FC236}">
                <a16:creationId xmlns:a16="http://schemas.microsoft.com/office/drawing/2014/main" id="{336DC485-2706-0C80-2567-1E6F03C7D4B3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1108075" y="6630988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EF11D8-BA90-4F08-B478-C0EC4A9520FE}" type="datetime'''''''''''总''''''''''''''''收入'''''''''''''''''''">
              <a:rPr kumimoji="1" lang="zh-CN" altLang="en-US" sz="1400" smtClean="0">
                <a:effectLst/>
              </a:rPr>
              <a:pPr/>
              <a:t>总收入</a:t>
            </a:fld>
            <a:endParaRPr kumimoji="1" lang="zh-CN" altLang="en-US" sz="1400" dirty="0"/>
          </a:p>
        </p:txBody>
      </p:sp>
      <p:sp>
        <p:nvSpPr>
          <p:cNvPr id="771" name="Text Placeholder 2">
            <a:extLst>
              <a:ext uri="{FF2B5EF4-FFF2-40B4-BE49-F238E27FC236}">
                <a16:creationId xmlns:a16="http://schemas.microsoft.com/office/drawing/2014/main" id="{96D5F810-A42F-F54B-9DF7-FF67F618D67C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auto">
          <a:xfrm>
            <a:off x="2155825" y="66309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8CFB11-32D0-47B3-B042-8B3839D643CB}" type="datetime'新''''''''''''签''''''''''''''''年''''''''''''''费'''''''''''">
              <a:rPr kumimoji="1" lang="zh-CN" altLang="en-US" sz="1400" smtClean="0">
                <a:effectLst/>
              </a:rPr>
              <a:pPr/>
              <a:t>新签年费</a:t>
            </a:fld>
            <a:endParaRPr kumimoji="1" lang="zh-CN" altLang="en-US" sz="1400" dirty="0"/>
          </a:p>
        </p:txBody>
      </p:sp>
      <p:sp>
        <p:nvSpPr>
          <p:cNvPr id="770" name="Text Placeholder 2">
            <a:extLst>
              <a:ext uri="{FF2B5EF4-FFF2-40B4-BE49-F238E27FC236}">
                <a16:creationId xmlns:a16="http://schemas.microsoft.com/office/drawing/2014/main" id="{37C266DE-F782-06CD-C263-055B3DDABD89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auto">
          <a:xfrm>
            <a:off x="3381375" y="66309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2D7C3E-65F2-40C9-A0BC-4918A08EBA01}" type="datetime'''续''''签''''''''''''年''''费'''">
              <a:rPr kumimoji="1" lang="zh-CN" altLang="en-US" sz="1400" smtClean="0">
                <a:effectLst/>
              </a:rPr>
              <a:pPr/>
              <a:t>续签年费</a:t>
            </a:fld>
            <a:endParaRPr kumimoji="1" lang="zh-CN" altLang="en-US" sz="1400" dirty="0"/>
          </a:p>
        </p:txBody>
      </p:sp>
      <p:sp>
        <p:nvSpPr>
          <p:cNvPr id="772" name="Text Placeholder 2">
            <a:extLst>
              <a:ext uri="{FF2B5EF4-FFF2-40B4-BE49-F238E27FC236}">
                <a16:creationId xmlns:a16="http://schemas.microsoft.com/office/drawing/2014/main" id="{7AC56826-1CD9-739B-1BFD-EFCAFEC1ECB0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4606925" y="66309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EDD938-DB99-4B9C-90D8-93F000B7E5C8}" type="datetime'''''''''效''果''''''广''''''''''''''''''''''告'''''''''''''''''">
              <a:rPr kumimoji="1" lang="zh-CN" altLang="en-US" sz="1400" smtClean="0"/>
              <a:pPr/>
              <a:t>效果广告</a:t>
            </a:fld>
            <a:endParaRPr kumimoji="1" lang="zh-CN" altLang="en-US" sz="1400" dirty="0"/>
          </a:p>
        </p:txBody>
      </p:sp>
      <p:sp>
        <p:nvSpPr>
          <p:cNvPr id="849" name="矩形 848">
            <a:extLst>
              <a:ext uri="{FF2B5EF4-FFF2-40B4-BE49-F238E27FC236}">
                <a16:creationId xmlns:a16="http://schemas.microsoft.com/office/drawing/2014/main" id="{A3056451-2874-F02B-0D93-A13044489724}"/>
              </a:ext>
            </a:extLst>
          </p:cNvPr>
          <p:cNvSpPr/>
          <p:nvPr>
            <p:custDataLst>
              <p:tags r:id="rId125"/>
            </p:custDataLst>
          </p:nvPr>
        </p:nvSpPr>
        <p:spPr bwMode="auto">
          <a:xfrm>
            <a:off x="1966913" y="332263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0" name="矩形 849">
            <a:extLst>
              <a:ext uri="{FF2B5EF4-FFF2-40B4-BE49-F238E27FC236}">
                <a16:creationId xmlns:a16="http://schemas.microsoft.com/office/drawing/2014/main" id="{EAE3B6A6-1E23-E7DA-76CE-7E2F1C4655E0}"/>
              </a:ext>
            </a:extLst>
          </p:cNvPr>
          <p:cNvSpPr/>
          <p:nvPr>
            <p:custDataLst>
              <p:tags r:id="rId126"/>
            </p:custDataLst>
          </p:nvPr>
        </p:nvSpPr>
        <p:spPr bwMode="auto">
          <a:xfrm>
            <a:off x="3081338" y="3322638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1" name="矩形 850">
            <a:extLst>
              <a:ext uri="{FF2B5EF4-FFF2-40B4-BE49-F238E27FC236}">
                <a16:creationId xmlns:a16="http://schemas.microsoft.com/office/drawing/2014/main" id="{B468BF32-1735-67AF-ABE9-6B7484482DF2}"/>
              </a:ext>
            </a:extLst>
          </p:cNvPr>
          <p:cNvSpPr/>
          <p:nvPr>
            <p:custDataLst>
              <p:tags r:id="rId127"/>
            </p:custDataLst>
          </p:nvPr>
        </p:nvSpPr>
        <p:spPr bwMode="auto">
          <a:xfrm>
            <a:off x="4195763" y="3322638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2" name="矩形 851">
            <a:extLst>
              <a:ext uri="{FF2B5EF4-FFF2-40B4-BE49-F238E27FC236}">
                <a16:creationId xmlns:a16="http://schemas.microsoft.com/office/drawing/2014/main" id="{74BB22D3-2A21-FEB5-B30A-2BF3EB3A4D91}"/>
              </a:ext>
            </a:extLst>
          </p:cNvPr>
          <p:cNvSpPr/>
          <p:nvPr>
            <p:custDataLst>
              <p:tags r:id="rId128"/>
            </p:custDataLst>
          </p:nvPr>
        </p:nvSpPr>
        <p:spPr bwMode="auto">
          <a:xfrm>
            <a:off x="5310188" y="3322638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3" name="Text Placeholder 2">
            <a:extLst>
              <a:ext uri="{FF2B5EF4-FFF2-40B4-BE49-F238E27FC236}">
                <a16:creationId xmlns:a16="http://schemas.microsoft.com/office/drawing/2014/main" id="{5C80DAD4-038F-C836-34BE-A198BDEA488D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auto">
          <a:xfrm>
            <a:off x="2268538" y="33337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CD630E-C285-468C-B250-8336F932E3B3}" type="datetime'''''新''''''''''签''''''''''年''费'''''''">
              <a:rPr kumimoji="1" lang="zh-CN" altLang="en-US" sz="1400" smtClean="0">
                <a:effectLst/>
              </a:rPr>
              <a:pPr/>
              <a:t>新签年费</a:t>
            </a:fld>
            <a:endParaRPr kumimoji="1" lang="zh-CN" altLang="en-US" sz="1400" dirty="0"/>
          </a:p>
        </p:txBody>
      </p:sp>
      <p:sp>
        <p:nvSpPr>
          <p:cNvPr id="845" name="Text Placeholder 2">
            <a:extLst>
              <a:ext uri="{FF2B5EF4-FFF2-40B4-BE49-F238E27FC236}">
                <a16:creationId xmlns:a16="http://schemas.microsoft.com/office/drawing/2014/main" id="{D496FC56-193C-DC81-6724-76EB4D3541D9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auto">
          <a:xfrm>
            <a:off x="3382963" y="33337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CFAA98-307B-4274-AFA8-83442821725F}" type="datetime'续''''''''''''''''签''''''''年费'''''''''''''''''''''''''''''">
              <a:rPr kumimoji="1" lang="zh-CN" altLang="en-US" sz="1400" smtClean="0">
                <a:effectLst/>
              </a:rPr>
              <a:pPr/>
              <a:t>续签年费</a:t>
            </a:fld>
            <a:endParaRPr kumimoji="1" lang="zh-CN" altLang="en-US" sz="1400" dirty="0"/>
          </a:p>
        </p:txBody>
      </p:sp>
      <p:sp>
        <p:nvSpPr>
          <p:cNvPr id="846" name="Text Placeholder 2">
            <a:extLst>
              <a:ext uri="{FF2B5EF4-FFF2-40B4-BE49-F238E27FC236}">
                <a16:creationId xmlns:a16="http://schemas.microsoft.com/office/drawing/2014/main" id="{E72910B2-DAAD-0D70-0A1D-0C7128B85B30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auto">
          <a:xfrm>
            <a:off x="4497388" y="33337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zh-CN" altLang="en-US" sz="1400" dirty="0">
                <a:effectLst/>
              </a:rPr>
              <a:t>效果广告</a:t>
            </a:r>
            <a:endParaRPr kumimoji="1" lang="zh-CN" altLang="en-US" sz="1400" dirty="0"/>
          </a:p>
        </p:txBody>
      </p:sp>
      <p:sp>
        <p:nvSpPr>
          <p:cNvPr id="847" name="Text Placeholder 2">
            <a:extLst>
              <a:ext uri="{FF2B5EF4-FFF2-40B4-BE49-F238E27FC236}">
                <a16:creationId xmlns:a16="http://schemas.microsoft.com/office/drawing/2014/main" id="{7E6D5F0D-6954-BAF7-66FD-AA9A6B31120F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auto">
          <a:xfrm>
            <a:off x="5611813" y="33337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D0D4DF-8496-43ED-B18A-C4FF904B873B}" type="datetime'''''品''牌''''''''''''''''''''''广''''''告'''''''''''''''''''''''">
              <a:rPr kumimoji="1" lang="zh-CN" altLang="en-US" sz="1400" smtClean="0"/>
              <a:pPr/>
              <a:t>品牌广告</a:t>
            </a:fld>
            <a:endParaRPr kumimoji="1" lang="zh-CN" altLang="en-US" sz="1400" dirty="0"/>
          </a:p>
        </p:txBody>
      </p:sp>
      <p:sp>
        <p:nvSpPr>
          <p:cNvPr id="928" name="文本框 927">
            <a:extLst>
              <a:ext uri="{FF2B5EF4-FFF2-40B4-BE49-F238E27FC236}">
                <a16:creationId xmlns:a16="http://schemas.microsoft.com/office/drawing/2014/main" id="{CF0FDC70-E416-E69E-C8BC-B93CE00B7183}"/>
              </a:ext>
            </a:extLst>
          </p:cNvPr>
          <p:cNvSpPr txBox="1"/>
          <p:nvPr/>
        </p:nvSpPr>
        <p:spPr>
          <a:xfrm>
            <a:off x="3747367" y="156131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低频收入结构</a:t>
            </a:r>
          </a:p>
        </p:txBody>
      </p:sp>
      <p:sp>
        <p:nvSpPr>
          <p:cNvPr id="980" name="文本框 979">
            <a:extLst>
              <a:ext uri="{FF2B5EF4-FFF2-40B4-BE49-F238E27FC236}">
                <a16:creationId xmlns:a16="http://schemas.microsoft.com/office/drawing/2014/main" id="{2FA71127-76E4-208B-912C-6519FBC86C77}"/>
              </a:ext>
            </a:extLst>
          </p:cNvPr>
          <p:cNvSpPr txBox="1"/>
          <p:nvPr/>
        </p:nvSpPr>
        <p:spPr>
          <a:xfrm>
            <a:off x="3794279" y="3609460"/>
            <a:ext cx="1719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分收入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595922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5AB8F-F5C9-45D5-7092-BE31892646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EC6B606-1B6E-3A65-6E5E-851455E5191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4655161"/>
              </p:ext>
            </p:extLst>
          </p:nvPr>
        </p:nvGraphicFramePr>
        <p:xfrm>
          <a:off x="1192" y="85844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2" imgW="7772400" imgH="10058400" progId="TCLayout.ActiveDocument.1">
                  <p:embed/>
                </p:oleObj>
              </mc:Choice>
              <mc:Fallback>
                <p:oleObj name="think-cell 幻灯片" r:id="rId122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3"/>
                      <a:stretch>
                        <a:fillRect/>
                      </a:stretch>
                    </p:blipFill>
                    <p:spPr>
                      <a:xfrm>
                        <a:off x="1192" y="85844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07" name="Chart 3">
            <a:extLst>
              <a:ext uri="{FF2B5EF4-FFF2-40B4-BE49-F238E27FC236}">
                <a16:creationId xmlns:a16="http://schemas.microsoft.com/office/drawing/2014/main" id="{68814610-9E7D-6E79-3730-1F1D2F54065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034932"/>
              </p:ext>
            </p:extLst>
          </p:nvPr>
        </p:nvGraphicFramePr>
        <p:xfrm>
          <a:off x="168275" y="350838"/>
          <a:ext cx="2686050" cy="241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4"/>
          </a:graphicData>
        </a:graphic>
      </p:graphicFrame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9772AB53-BA4E-D928-B751-635617852FC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39700" y="7683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BCB9E2-82AD-4C95-84DA-6B205905F5F2}" type="datetime'''''''''''''''''''''''''''''''1.''''''6''''''%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92E57A62-EC6D-A4E5-8B62-39B25BF0AD09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295275" y="10287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4B948-0610-45D3-917C-70C97CAC57C4}" type="datetime'''''''''3''''''''''''''1''.''''''''''''''''''''''2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2%</a:t>
            </a:fld>
            <a:endParaRPr lang="zh-CN" altLang="en-US" sz="10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AC046814-D627-7832-FF99-50D6E9C36A2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95275" y="1973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CBCC7-2770-4624-AFB0-8804D444609F}" type="datetime'''''''''''''6''''''''''''''''''''7''''''.''''''2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C013E25-25DD-643F-7E1A-E401D8E8E8C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588" y="273685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CC41920D-6C28-E3D2-A3B0-77F58298C05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39800" y="7191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F9EF36-4677-4097-B28F-406AFC557D87}" type="datetime'''''1''''''''.''''''8%''''''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B533116B-B733-20C0-08D6-46CACF5B42D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914400" y="973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C00BA-74F7-4ABC-B4D9-DC957E98A2EF}" type="datetime'3''''''''''1''''''''.''''''''3''''''''''%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3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4FB8F713-17A9-140A-EA6E-6DA0F53B4C9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14400" y="19526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4940C0-149A-44B4-9F03-D016160ECC0F}" type="datetime'''''''''''''6''''''''''''''''6''.''''''9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9%</a:t>
            </a:fld>
            <a:endParaRPr lang="zh-CN" altLang="en-US" sz="1000" dirty="0"/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E1054E7C-2388-47FB-6599-A4C1F08EB59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841375" y="273685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44E6802D-F202-4E2D-F395-F4681E58588D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782763" y="7239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C3DE037-C89C-4255-AF03-4B604E428CD4}" type="datetime'''''''''''''''1''.7''''''''''''''''''''''%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B450F457-5076-2E3D-A7A6-C84B53C818F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755775" y="9890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A8899D-4B89-4668-910C-5B2556391010}" type="datetime'''3''4''''''''''''''''''''''''.''''''''''''''''1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1%</a:t>
            </a:fld>
            <a:endParaRPr lang="zh-CN" altLang="en-US" sz="1000" dirty="0"/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34D351AC-CF78-1221-7A8F-03965AF29AD9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755775" y="19748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CA5602-441C-4CA7-95FD-94CF04F8EBF9}" type="datetime'''''''''''''''''''''''''''''''''6''''''4.''''''2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4C145DDD-3463-BEBD-CA3D-775F7F37DFB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682750" y="273685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16371929-C7A6-CAD2-7FF8-6591340FD27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538413" y="15224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E79AA6-8420-4358-A7C1-720EC2BFA7AF}" type="datetime'''''''''''''''1''''''''''''''''''''''''''''''''.''''9''''''%'">
              <a:rPr lang="zh-CN" altLang="en-US" sz="1000" smtClean="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DC4090D1-40F1-C745-B910-37F32E0172C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468563" y="170656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8FF6AE-00C8-43C6-9437-B5D02F0C9DEB}" type="datetime'''3''''''''''''1''''''''''''''''''''''.6''''''''''''''''%'''">
              <a:rPr lang="zh-CN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6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DB9AAE21-A2D7-9D1F-D088-C4397EF96BC6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374900" y="2220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023BCB-42E1-4749-8BD5-34B031DCDCB6}" type="datetime'''''''''''''''''''''''6''''''''''''''''''''6''''''''''.''5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5%</a:t>
            </a:fld>
            <a:endParaRPr lang="zh-CN" altLang="en-US" sz="1000" dirty="0"/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BF32BF15-767E-03DF-6C1D-4043B4C2B544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455863" y="2736850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130871-4531-4A95-95F2-0AE0FA954B67}" type="datetime'''F''''''''''''''Y''''''2''''''''''7Q1''''''''''''''t''''d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F199A9A-021F-CF13-1D87-B8CA0AB670B9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0" y="5524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3C690B-04F1-47AF-B0A3-EE568535A110}" type="datetime'''2''''55''''6''''''''''''''''''''''''''''''''''''''''''''8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568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45A7FD3-1FF7-1AFD-FAFF-3E77AE724226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839788" y="47942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7DD3E9-60CD-4AAD-8C60-5A013577BFD4}" type="datetime'''''''''''''''''2''''''6''''''5''''''''''34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34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1ED7F35-EC70-9264-FC64-353A7CD96B7E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681163" y="46672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5410E2-9D69-484D-8B24-D77BD252538F}" type="datetime'''2''''''''''''''6''''7''''''''''''''''''''''''''''''0''''''6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706</a:t>
            </a:fld>
            <a:endParaRPr kumimoji="1" lang="zh-CN" altLang="en-US" sz="1400" dirty="0"/>
          </a:p>
        </p:txBody>
      </p:sp>
      <p:sp useBgFill="1">
        <p:nvSpPr>
          <p:cNvPr id="26" name="Text Placeholder 2">
            <a:extLst>
              <a:ext uri="{FF2B5EF4-FFF2-40B4-BE49-F238E27FC236}">
                <a16:creationId xmlns:a16="http://schemas.microsoft.com/office/drawing/2014/main" id="{60DA17F7-7B34-A963-5915-98A8AD15E77F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520950" y="127635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3A5790-B07F-41FD-9551-D15D09FEA992}" type="datetime'''''''''1''''''''''''''''5''9''''''3''6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936</a:t>
            </a:fld>
            <a:endParaRPr kumimoji="1" lang="zh-CN" altLang="en-US" sz="1400" dirty="0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D7A307C0-7DF9-A436-A6E4-A0A716DFE330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3089275" y="29733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83E510CC-E580-C3F7-2732-33F54DA388F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3848100" y="29733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B1E3EB15-111A-6C38-1B12-2FA26DF0D57B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606925" y="29733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9CD97D17-D18B-34FD-EB30-AABF90A48012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3390900" y="2984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238CCA-860F-415B-BBDD-C5ADE8683906}" type="datetime'''''''''''''''''电''''''''''''''''''''''''''销'''''''''''''''">
              <a:rPr kumimoji="1" lang="zh-CN" altLang="en-US" sz="1400" smtClean="0">
                <a:ea typeface="等线" panose="02010600030101010101" pitchFamily="2" charset="-122"/>
              </a:rPr>
              <a:pPr/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C2150147-2559-D562-57C7-F8A01808B772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4149725" y="2984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179031-398C-4831-AA97-E3E0EA4ECEE5}" type="datetime'''''''''''''''''''''''''''渠''''''''''''道'''''''''">
              <a:rPr kumimoji="1" lang="zh-CN" altLang="en-US" sz="1400" smtClean="0">
                <a:ea typeface="等线" panose="02010600030101010101" pitchFamily="2" charset="-122"/>
              </a:rPr>
              <a:pPr/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5" name="Text Placeholder 2">
            <a:extLst>
              <a:ext uri="{FF2B5EF4-FFF2-40B4-BE49-F238E27FC236}">
                <a16:creationId xmlns:a16="http://schemas.microsoft.com/office/drawing/2014/main" id="{84E7EB14-ED7E-0E2D-1378-E7607B243766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4908550" y="2984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9E3938-D190-4F06-B81E-667A92F7B2B1}" type="datetime'''''''''''直''''''''''''''''''''''营'''''''''''''''">
              <a:rPr kumimoji="1" lang="zh-CN" altLang="en-US" sz="1400" smtClean="0"/>
              <a:pPr/>
              <a:t>直营</a:t>
            </a:fld>
            <a:endParaRPr kumimoji="1" lang="zh-CN" altLang="en-US" sz="1400" dirty="0"/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DE73FF97-24A1-4810-C05B-94D0AF83F932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071651548"/>
              </p:ext>
            </p:extLst>
          </p:nvPr>
        </p:nvGraphicFramePr>
        <p:xfrm>
          <a:off x="3213100" y="565150"/>
          <a:ext cx="2589213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DA07E46C-9203-664D-7A52-1EA76802DCF8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340100" y="17510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129DC5-8489-4BB4-BCB4-27C764998DC3}" type="datetime'''''''''''''''''''''''1''''''''''''''''.7''''''''''''''%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2E464132-07DC-448A-584D-700C756FF2CA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3233738" y="20224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09263F-1DC0-42C6-895B-D548A6AA5F2F}" type="datetime'3''2''''''''.''''''''''''''''''''''0''%'''''''''''">
              <a:rPr lang="zh-CN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0%</a:t>
            </a:fld>
            <a:endParaRPr lang="zh-CN" altLang="en-US" sz="1000" dirty="0"/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C624E3B3-903F-042C-9A73-F6E17C1C3C50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3340100" y="23288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6E3D99-9F95-4643-970F-512391990DD1}" type="datetime'66''''.3''''''''''''''''''''''''''''''''''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3%</a:t>
            </a:fld>
            <a:endParaRPr lang="zh-CN" altLang="en-US" sz="1000" dirty="0"/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9E3E1488-35B9-8518-CFE1-4DEA9810B7BD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3175000" y="27368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E360762A-59B2-576B-AE77-D09F2AE0BCE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3948113" y="7239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34480C-61D8-4F08-AA58-172A2101FE96}" type="datetime'''''''''''''''''''''''1''''.8%''''''''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F9B2C550-71C4-BAB9-9468-01EDD9D289DC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3944938" y="11207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966BF9-DCE0-4EDF-A976-4E6E78EA8408}" type="datetime'''''''''''3''''''''''3.''''7''''''%'''''''">
              <a:rPr lang="zh-CN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3.7%</a:t>
            </a:fld>
            <a:endParaRPr lang="zh-CN" altLang="en-US" sz="1000" dirty="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65F013D0-45BB-A486-85FB-6D19C32412AF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3927475" y="19621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4CEB61-4334-4538-B5CA-3BB2DEDF08DB}" type="datetime'''''''''6''''''''''''4''''''''''.''''''''''''''5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5%</a:t>
            </a:fld>
            <a:endParaRPr lang="zh-CN" altLang="en-US" sz="1000" dirty="0"/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35C83698-2B5C-2CCE-6222-6D372003D221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3983038" y="27368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383497D3-70F5-30BB-FEDB-742B36876B19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767263" y="9636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5E79B2-7A79-488F-97D9-9F7AA61562F4}" type="datetime'1''''''.''''''''''''''''''''''''''9%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7B001F9-709A-A319-DCC5-055B43940E10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737100" y="12842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7E81F0-44DF-4806-A8A6-A8C261E59CCD}" type="datetime'''''''3''2''''''''''''''''''''.''9''''%''''''''''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9%</a:t>
            </a:fld>
            <a:endParaRPr lang="zh-CN" altLang="en-US" sz="1000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25FC50FB-D39E-8A2D-1808-A022362FE9BB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4735513" y="20415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A9AC14-5EEC-4EFA-BA5E-58B932FF76A0}" type="datetime'''''''''''''''''6''''5''''.''''''''''2%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2%</a:t>
            </a:fld>
            <a:endParaRPr lang="zh-CN" altLang="en-US" sz="1000" dirty="0"/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DF51FBFC-08E1-F4C4-9925-48E496F8D3E4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4791075" y="27368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112AD19A-155B-60E1-3A0D-777B371B86F3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387975" y="17160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6199B3-6904-43CD-8FD8-83C13D106186}" type="datetime'''''''2.''''''''''''''''''0''''''%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290CB867-9F8C-F0AA-73B8-B6DAC8E29917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322888" y="18573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83CA20-65D9-4B4E-89D6-5582DCEEDF37}" type="datetime'2''''9''''''.0''''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0%</a:t>
            </a:fld>
            <a:endParaRPr lang="zh-CN" altLang="en-US" sz="1000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330D58EA-B1EC-746D-804A-272B1F43BBC2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322888" y="23034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43294F-3B5B-4D1D-B4F2-EBAE2BFA6D10}" type="datetime'''''''''''''''''6''''''9''''.0%''''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0%</a:t>
            </a:fld>
            <a:endParaRPr lang="zh-CN" altLang="en-US" sz="1000" dirty="0"/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F466628C-7B34-1402-65C6-CE9FBCC0541D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5532438" y="2736850"/>
            <a:ext cx="376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C5FAC-DA1B-4D01-9B7E-77096F690BA5}" type="datetime'''''''''''''''''''''''''5月''''''''''''''''''''''''''td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td</a:t>
            </a:fld>
            <a:endParaRPr lang="zh-CN" altLang="en-US" sz="1200" b="1" dirty="0"/>
          </a:p>
        </p:txBody>
      </p:sp>
      <p:sp useBgFill="1">
        <p:nvSpPr>
          <p:cNvPr id="177" name="Text Placeholder 2">
            <a:extLst>
              <a:ext uri="{FF2B5EF4-FFF2-40B4-BE49-F238E27FC236}">
                <a16:creationId xmlns:a16="http://schemas.microsoft.com/office/drawing/2014/main" id="{1E8408F8-601A-C5DE-3506-BACEA57FDB75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3089275" y="15986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48471F-6B9A-4A39-95B2-4F17A2BCD435}" type="datetime'''''''''''''''''''''5''''''1''''''''''''''''''9''''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92</a:t>
            </a:fld>
            <a:endParaRPr kumimoji="1" lang="zh-CN" altLang="en-US" sz="1400" dirty="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91A376E4-407B-340E-EFFA-56E20264C8BF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852863" y="43338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797F73-2002-4E7A-A144-1D5A18D84A04}" type="datetime'''1''''''''''''2''''''''''''''''''''''''10''0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1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58" name="Text Placeholder 2">
            <a:extLst>
              <a:ext uri="{FF2B5EF4-FFF2-40B4-BE49-F238E27FC236}">
                <a16:creationId xmlns:a16="http://schemas.microsoft.com/office/drawing/2014/main" id="{DC18138C-6B2B-474D-25AC-0E562550C39E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4660900" y="700088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A3DE13-4BF7-4D6F-8A83-CC6C69CEE2E7}" type="datetime'1''''''''''''''''''''0''5''''2''''''''''''''0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20</a:t>
            </a:fld>
            <a:endParaRPr kumimoji="1" lang="zh-CN" altLang="en-US" sz="1400" dirty="0"/>
          </a:p>
        </p:txBody>
      </p:sp>
      <p:sp useBgFill="1">
        <p:nvSpPr>
          <p:cNvPr id="59" name="Text Placeholder 2">
            <a:extLst>
              <a:ext uri="{FF2B5EF4-FFF2-40B4-BE49-F238E27FC236}">
                <a16:creationId xmlns:a16="http://schemas.microsoft.com/office/drawing/2014/main" id="{03EC6281-6C26-7D29-AB6C-E4083B96028C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5513388" y="15605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60AC8A-0C3D-45C7-990B-4C2E33A30699}" type="datetime'''''''''''''54''''''''''''''''16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16</a:t>
            </a:fld>
            <a:endParaRPr kumimoji="1" lang="zh-CN" altLang="en-US" sz="1400" dirty="0"/>
          </a:p>
        </p:txBody>
      </p:sp>
      <p:graphicFrame>
        <p:nvGraphicFramePr>
          <p:cNvPr id="413" name="Chart 3">
            <a:extLst>
              <a:ext uri="{FF2B5EF4-FFF2-40B4-BE49-F238E27FC236}">
                <a16:creationId xmlns:a16="http://schemas.microsoft.com/office/drawing/2014/main" id="{4B2BF40C-EC06-2161-B899-76A471D17719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034555222"/>
              </p:ext>
            </p:extLst>
          </p:nvPr>
        </p:nvGraphicFramePr>
        <p:xfrm>
          <a:off x="6049963" y="554038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cxnSp>
        <p:nvCxnSpPr>
          <p:cNvPr id="4" name="直线连接符 3">
            <a:extLst>
              <a:ext uri="{FF2B5EF4-FFF2-40B4-BE49-F238E27FC236}">
                <a16:creationId xmlns:a16="http://schemas.microsoft.com/office/drawing/2014/main" id="{81CED256-55B3-CFF2-F79F-77951A738B1E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7921625" y="1103313"/>
            <a:ext cx="0" cy="79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6993726C-14D9-1AE9-5186-FF57E18125DF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6176963" y="8493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8FDBE7-B625-4A5A-87BA-1F079E38A470}" type="datetime'''''''''2''''.''''0''%''''''''''''''''''''''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6059B291-8B73-A386-7195-A1D5CA82025C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6176963" y="1176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E105F3-4D6A-44FF-BCF0-9AB1BA07B3D5}" type="datetime'''''''''3''''''''4''''.''''''''''''''''9''''''''''''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9%</a:t>
            </a:fld>
            <a:endParaRPr lang="zh-CN" altLang="en-US" sz="1000" dirty="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E15D8926-E3D9-AD91-25D1-DA955DA82E20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6176963" y="2047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990333-673A-40B7-AC2F-86EA428583E8}" type="datetime'''''''''''''''''''6''''''''''''3.''''''''1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1%</a:t>
            </a:fld>
            <a:endParaRPr lang="zh-CN" altLang="en-US" sz="1000" dirty="0"/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64467FBC-1355-D17A-8FE9-1BF7B231C290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5929313" y="272573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D91BB6-3E26-4828-86B1-F0650FE2EB02}" type="datetime'''m''''''''''''4''''''w''''''''''3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6C69919E-4643-8953-2E64-85010B217566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886575" y="7096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27B530-15C0-4157-B54F-23DEE1A89E17}" type="datetime'''1''''''''''''''''''''''''''''''''''''''.''''''5''%'">
              <a:rPr lang="zh-CN" altLang="en-US" sz="1000" smtClean="0">
                <a:solidFill>
                  <a:schemeClr val="bg1"/>
                </a:solidFill>
                <a:effectLst/>
              </a:rPr>
              <a:pPr/>
              <a:t>1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672B4C81-4AF7-FA30-D2AA-AA5DE6069A82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6867525" y="1154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5E31D6-A31B-4719-A878-7C996347BFC1}" type="datetime'''''''''''3''''''8''.6''''''''''''''''''''%'''''''''''''''''''">
              <a:rPr lang="zh-CN" altLang="en-US" sz="1000" smtClean="0"/>
              <a:pPr/>
              <a:t>38.6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45D1B9CC-B557-17BF-8170-968C348815E7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6850063" y="19970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7DDDEB-3B45-4165-A9FF-0AC1A92362DA}" type="datetime'5''9''''''''''''''''.''''''''''''''9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9%</a:t>
            </a:fld>
            <a:endParaRPr lang="zh-CN" altLang="en-US" sz="1000" dirty="0"/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840BB14E-BC08-9BD5-7F00-59BE21CB859A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auto">
          <a:xfrm>
            <a:off x="6823075" y="272573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5A6047-4983-4E0D-A50C-3A455C03B254}" type="datetime'''''''''''''''m4''''''''''''''''''''''w''''''''''''4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4CDD034A-AC9B-C515-DEDB-438B7C08D3F0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778750" y="11826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8126E7-5526-4E94-ADC6-18C3DB825C1E}" type="datetime'''''''''''2''''''.''''''''''''''''1''''%'''''">
              <a:rPr lang="zh-CN" altLang="en-US" sz="1000" smtClean="0">
                <a:effectLst/>
              </a:rPr>
              <a:pPr/>
              <a:t>2.1%</a:t>
            </a:fld>
            <a:endParaRPr lang="zh-CN" altLang="en-US" sz="1000" dirty="0"/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45B37707-EAB8-D895-C738-57431B4E31CC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747000" y="13970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121F43-CA71-4B82-BA02-4500E5604ECA}" type="datetime'2''''9''''''''''''''''''''.''''''''''''''2''''''''''%'''">
              <a:rPr lang="zh-CN" altLang="en-US" sz="1000" smtClean="0"/>
              <a:pPr/>
              <a:t>29.2%</a:t>
            </a:fld>
            <a:endParaRPr lang="zh-CN" altLang="en-US" sz="1000" dirty="0"/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B14D2137-5BB7-847A-91DB-54D68AD39B40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7745413" y="20621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964D4F-1D5F-41D9-8CC5-C23919D91C80}" type="datetime'''''''''''6''8''.''''''''''''8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8%</a:t>
            </a:fld>
            <a:endParaRPr lang="zh-CN" altLang="en-US" sz="1000" dirty="0"/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F1DBE491-6792-0C56-1C46-86D7E6B2CB32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7718425" y="272573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96B513-9C18-4A96-86B1-EE7E158B9A9D}" type="datetime'''m''5''''''''''''''''''''''''''''w''''''''''''''''1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19740924-7FD5-799D-15EE-3B70BFE60C4F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562975" y="11112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9A778AA-9A28-4C14-AFBB-92CDB011E97C}" type="datetime'''''''2''''''''''''''''.''2''''''''%''''''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1554C467-E151-145B-4269-8A59E6DE2AFD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418513" y="13096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36865C-92B9-42DB-B2F8-2EB89E53ED81}" type="datetime'''''''''''''''''''3''''''''''''''''''0''''''''.''7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7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3796EEAF-2901-2E5A-F49C-35755221A72F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8418513" y="20796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F9DDB6-4D6F-4565-BFF9-01CF49B0C78F}" type="datetime'''''6''''''''''7''.1''''''''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1%</a:t>
            </a:fld>
            <a:endParaRPr lang="zh-CN" altLang="en-US" sz="1000" dirty="0"/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BF3EDACD-6412-6B66-8320-CC4CD747515C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8612188" y="272573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7E0399-FD72-45A1-965B-1158F55955C6}" type="datetime'm''''''''''''5''''''''''w''''''''2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 useBgFill="1">
        <p:nvSpPr>
          <p:cNvPr id="376" name="Text Placeholder 2">
            <a:extLst>
              <a:ext uri="{FF2B5EF4-FFF2-40B4-BE49-F238E27FC236}">
                <a16:creationId xmlns:a16="http://schemas.microsoft.com/office/drawing/2014/main" id="{BB651962-0834-E653-1E8B-DD38A77B9B9D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5926138" y="6842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25FE5F-5CE9-45B0-8A26-1841A2C82A5F}" type="datetime'''''''''''''''''''''''''''''2''''4''''''''''''''''''7''''''0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70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A10353CC-D256-F7ED-3EB9-27B9C649D24D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6819900" y="4222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4B9A6F-BE22-4C13-9266-EB1C5A1948AB}" type="datetime'''''2''''8''''''3''''''''4''''''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4</a:t>
            </a:fld>
            <a:endParaRPr kumimoji="1" lang="zh-CN" altLang="en-US" sz="1400" dirty="0"/>
          </a:p>
        </p:txBody>
      </p:sp>
      <p:sp useBgFill="1">
        <p:nvSpPr>
          <p:cNvPr id="384" name="Text Placeholder 2">
            <a:extLst>
              <a:ext uri="{FF2B5EF4-FFF2-40B4-BE49-F238E27FC236}">
                <a16:creationId xmlns:a16="http://schemas.microsoft.com/office/drawing/2014/main" id="{731E9539-E117-C229-63B6-DD95DB5841E0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7715250" y="8731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34F652-11E1-4286-9AB3-4754FA47EDE4}" type="datetime'2''''2''''''''''''''0''''''''''''''''''''''''''''''8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08</a:t>
            </a:fld>
            <a:endParaRPr kumimoji="1" lang="zh-CN" altLang="en-US" sz="1400" dirty="0"/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8D386C75-4140-410B-9D15-4E46B431EAEE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8609013" y="8874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ABF397-70BA-4A14-94A1-1A8512D3B30C}" type="datetime'''''''''2''''''''''''1''''8''''''''''''''7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87</a:t>
            </a:fld>
            <a:endParaRPr kumimoji="1" lang="zh-CN" altLang="en-US" sz="1400" dirty="0"/>
          </a:p>
        </p:txBody>
      </p:sp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706EA961-5D22-F97C-221B-98CF633CD5B3}"/>
              </a:ext>
            </a:extLst>
          </p:cNvPr>
          <p:cNvGraphicFramePr/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2159015545"/>
              </p:ext>
            </p:extLst>
          </p:nvPr>
        </p:nvGraphicFramePr>
        <p:xfrm>
          <a:off x="334963" y="3721100"/>
          <a:ext cx="8455025" cy="2392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cxnSp>
        <p:nvCxnSpPr>
          <p:cNvPr id="402" name="直线连接符 401">
            <a:extLst>
              <a:ext uri="{FF2B5EF4-FFF2-40B4-BE49-F238E27FC236}">
                <a16:creationId xmlns:a16="http://schemas.microsoft.com/office/drawing/2014/main" id="{5AE723CD-3607-315D-3CD4-141C10655548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 flipH="1">
            <a:off x="1985963" y="473075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5" name="直线连接符 284">
            <a:extLst>
              <a:ext uri="{FF2B5EF4-FFF2-40B4-BE49-F238E27FC236}">
                <a16:creationId xmlns:a16="http://schemas.microsoft.com/office/drawing/2014/main" id="{1247FD1C-4612-1DCE-D59A-5DDA471CCEA1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 flipH="1">
            <a:off x="8202613" y="502285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9" name="直线连接符 278">
            <a:extLst>
              <a:ext uri="{FF2B5EF4-FFF2-40B4-BE49-F238E27FC236}">
                <a16:creationId xmlns:a16="http://schemas.microsoft.com/office/drawing/2014/main" id="{BA7E9283-9CF6-545A-29AE-C5D196882889}"/>
              </a:ext>
            </a:extLst>
          </p:cNvPr>
          <p:cNvCxnSpPr>
            <a:cxnSpLocks/>
          </p:cNvCxnSpPr>
          <p:nvPr>
            <p:custDataLst>
              <p:tags r:id="rId75"/>
            </p:custDataLst>
          </p:nvPr>
        </p:nvCxnSpPr>
        <p:spPr bwMode="auto">
          <a:xfrm>
            <a:off x="7100888" y="4657725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2B03A318-955E-89BA-B09B-E55E891CDE7E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4043363" y="474186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F6ACE745-A1DD-5F6C-8273-10ECF7CEE19F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3833813" y="6075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88DACA-D610-47FB-B065-A89E9DBD3915}" type="datetime'''''F''''''''''''''Y''''''''''''''''''27Q''''1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7C0A1233-5681-97BF-6E50-FE4ECC1A2D06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757238" y="37036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C822FE-4723-447D-B4C7-4038D2B308E6}" type="datetime'''''7''''''''''7''''''.''''''''''''''''''''8%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8%</a:t>
            </a:fld>
            <a:endParaRPr lang="zh-CN" altLang="en-US" sz="1000" b="1" dirty="0"/>
          </a:p>
        </p:txBody>
      </p:sp>
      <p:sp useBgFill="1">
        <p:nvSpPr>
          <p:cNvPr id="228" name="Text Placeholder 2">
            <a:extLst>
              <a:ext uri="{FF2B5EF4-FFF2-40B4-BE49-F238E27FC236}">
                <a16:creationId xmlns:a16="http://schemas.microsoft.com/office/drawing/2014/main" id="{2C31F55F-62C1-826F-4EA2-43958C68F14B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2025650" y="46624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6EED87-A020-48A2-820E-A382EE9D2755}" type="datetime'4''''''2''''''''''''''''''''.9''''''''''''%''''''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.9%</a:t>
            </a:fld>
            <a:endParaRPr lang="zh-CN" altLang="en-US" sz="1000" b="1" dirty="0"/>
          </a:p>
        </p:txBody>
      </p:sp>
      <p:sp>
        <p:nvSpPr>
          <p:cNvPr id="313" name="Text Placeholder 2">
            <a:extLst>
              <a:ext uri="{FF2B5EF4-FFF2-40B4-BE49-F238E27FC236}">
                <a16:creationId xmlns:a16="http://schemas.microsoft.com/office/drawing/2014/main" id="{EEF753B7-C23B-B094-7C2E-213DDA55950C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1793875" y="36147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A15C4A-35CB-411E-A355-BF78BDC4FC44}" type="datetime'''''8''''''''1.5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.5%</a:t>
            </a:fld>
            <a:endParaRPr lang="zh-CN" altLang="en-US" sz="1000" b="1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5C037872-3FAB-05E8-23FE-DAD6311C5BA9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1762125" y="6075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73B512-3EEF-4296-A6FA-03A0F3E1DCDB}" type="datetime'F''''''Y''''''''''2''''''''6''''Q''''''''''3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315" name="Text Placeholder 2">
            <a:extLst>
              <a:ext uri="{FF2B5EF4-FFF2-40B4-BE49-F238E27FC236}">
                <a16:creationId xmlns:a16="http://schemas.microsoft.com/office/drawing/2014/main" id="{30FB2F44-2853-4585-B4BC-8A7436879157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2830513" y="42227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F33894-78CC-42C3-A10B-EDCAC0E091CE}" type="datetime'6''''''''6''''''''.''''''''''3''''''''''''''''''''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3%</a:t>
            </a:fld>
            <a:endParaRPr lang="zh-CN" altLang="en-US" sz="1000" b="1" dirty="0"/>
          </a:p>
        </p:txBody>
      </p:sp>
      <p:sp>
        <p:nvSpPr>
          <p:cNvPr id="316" name="Text Placeholder 2">
            <a:extLst>
              <a:ext uri="{FF2B5EF4-FFF2-40B4-BE49-F238E27FC236}">
                <a16:creationId xmlns:a16="http://schemas.microsoft.com/office/drawing/2014/main" id="{EF0CE544-FEC4-996D-9415-8EEF52FD3051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2830513" y="37957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B384A0-8CA2-482F-94DA-76959848DFC6}" type="datetime'''''''''''7''''''''''4''''''''''''''''.0''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0%</a:t>
            </a:fld>
            <a:endParaRPr lang="zh-CN" altLang="en-US" sz="1000" b="1" dirty="0"/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1FBD8C80-547C-060C-E087-3F96985FF586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2830513" y="48863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5A0E91-A58C-4F8F-8A91-03E788E7734A}" type="datetime'3''''''''''''''8''''''''''''''''''.''''''''7''''''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7%</a:t>
            </a:fld>
            <a:endParaRPr lang="zh-CN" altLang="en-US" sz="1000" b="1" dirty="0"/>
          </a:p>
        </p:txBody>
      </p:sp>
      <p:sp useBgFill="1">
        <p:nvSpPr>
          <p:cNvPr id="230" name="Text Placeholder 2">
            <a:extLst>
              <a:ext uri="{FF2B5EF4-FFF2-40B4-BE49-F238E27FC236}">
                <a16:creationId xmlns:a16="http://schemas.microsoft.com/office/drawing/2014/main" id="{3311FF04-D948-F954-CF75-84BF25962E82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3062288" y="45053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AEE95E-C06A-4689-B98B-BBC985F4F5E8}" type="datetime'''''49''''''''''''''''''''''''''''''.''''''''''5''%''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.5%</a:t>
            </a:fld>
            <a:endParaRPr lang="zh-CN" altLang="en-US" sz="10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0DAEC984-2805-835F-3AD1-6399556718F3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2798763" y="6075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764DD8-A49C-4B2D-8347-87ECC514F20E}" type="datetime'''''''''''''''''''''''''F''Y''''''''''''''2''''''6Q4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317" name="Text Placeholder 2">
            <a:extLst>
              <a:ext uri="{FF2B5EF4-FFF2-40B4-BE49-F238E27FC236}">
                <a16:creationId xmlns:a16="http://schemas.microsoft.com/office/drawing/2014/main" id="{BD8D3E9E-79CB-D91D-A0E7-60678AA20F84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3865563" y="37353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A89C04-0297-46CB-ADF1-7DE8F4059D1A}" type="datetime'''''7''6''''''''''''.''''''''''''''5''''''%''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5%</a:t>
            </a:fld>
            <a:endParaRPr lang="zh-CN" altLang="en-US" sz="1000" b="1" dirty="0"/>
          </a:p>
        </p:txBody>
      </p:sp>
      <p:sp useBgFill="1">
        <p:nvSpPr>
          <p:cNvPr id="231" name="Text Placeholder 2">
            <a:extLst>
              <a:ext uri="{FF2B5EF4-FFF2-40B4-BE49-F238E27FC236}">
                <a16:creationId xmlns:a16="http://schemas.microsoft.com/office/drawing/2014/main" id="{AA630DFD-562B-68BF-DC8D-36D794D63FE5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3865563" y="4578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38AB08-D7F9-41CE-A865-09113A93EB49}" type="datetime'''4''1''''''''''''''''''''''''.''''''4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4%</a:t>
            </a:fld>
            <a:endParaRPr lang="zh-CN" altLang="en-US" sz="1000" b="1" dirty="0"/>
          </a:p>
        </p:txBody>
      </p:sp>
      <p:sp useBgFill="1">
        <p:nvSpPr>
          <p:cNvPr id="232" name="Text Placeholder 2">
            <a:extLst>
              <a:ext uri="{FF2B5EF4-FFF2-40B4-BE49-F238E27FC236}">
                <a16:creationId xmlns:a16="http://schemas.microsoft.com/office/drawing/2014/main" id="{594DD9F5-B1EE-955C-E770-78F63FCED457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3865563" y="48768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04698B-F75A-44E3-A2D8-E5B1D4907DFD}" type="datetime'''''''''3''''''''''''''9''''.1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1%</a:t>
            </a:fld>
            <a:endParaRPr lang="zh-CN" altLang="en-US" sz="1000" b="1" dirty="0"/>
          </a:p>
        </p:txBody>
      </p:sp>
      <p:sp useBgFill="1">
        <p:nvSpPr>
          <p:cNvPr id="233" name="Text Placeholder 2">
            <a:extLst>
              <a:ext uri="{FF2B5EF4-FFF2-40B4-BE49-F238E27FC236}">
                <a16:creationId xmlns:a16="http://schemas.microsoft.com/office/drawing/2014/main" id="{5CFD6534-3382-3E9E-95BA-58C2F08B9943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3865563" y="46053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DC4397-42BF-412F-B5D3-0D6CCAC0F352}" type="datetime'''40''''.''''''''''''''''3''''''''''''%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3%</a:t>
            </a:fld>
            <a:endParaRPr lang="zh-CN" altLang="en-US" sz="1000" b="1" dirty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856CF98D-6ACC-BA03-8069-BB80A656B006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725488" y="6075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DF8F5E-2B43-4FF7-8C90-C97215724007}" type="datetime'''F''''''''''Y2''''''''''''''6''''''''''''Q2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312" name="Text Placeholder 2">
            <a:extLst>
              <a:ext uri="{FF2B5EF4-FFF2-40B4-BE49-F238E27FC236}">
                <a16:creationId xmlns:a16="http://schemas.microsoft.com/office/drawing/2014/main" id="{44575D5A-BF44-1470-F4C5-88CE84F62DCF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527050" y="46958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1D87FB-9DAC-416F-B399-ECDF5DDFBFD7}" type="datetime'''''''''''''''''''4''''''''''''''''''''''1''.''''''5''%'''">
              <a:rPr lang="zh-CN" altLang="en-US" sz="10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1.5%</a:t>
            </a:fld>
            <a:endParaRPr lang="zh-CN" altLang="en-US" sz="1000" b="1" dirty="0"/>
          </a:p>
        </p:txBody>
      </p:sp>
      <p:sp useBgFill="1">
        <p:nvSpPr>
          <p:cNvPr id="321" name="Text Placeholder 2">
            <a:extLst>
              <a:ext uri="{FF2B5EF4-FFF2-40B4-BE49-F238E27FC236}">
                <a16:creationId xmlns:a16="http://schemas.microsoft.com/office/drawing/2014/main" id="{A249D570-C311-B7E3-1485-E450FADE2AC1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4916488" y="5895975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D1FE8D-245E-47C9-8FC5-EF318BC99208}" type="datetime'''''''''''''''''''-''8''''.''''''''''''''''''4%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8.4%</a:t>
            </a:fld>
            <a:endParaRPr lang="zh-CN" altLang="en-US" sz="1000" b="1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B794B5F-B43D-0975-434B-52B89107CDED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4978400" y="6075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D5EE6D-5362-49E3-BC0B-92229C275602}" type="datetime'''''''2''''''月''''''''''''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322" name="Text Placeholder 2">
            <a:extLst>
              <a:ext uri="{FF2B5EF4-FFF2-40B4-BE49-F238E27FC236}">
                <a16:creationId xmlns:a16="http://schemas.microsoft.com/office/drawing/2014/main" id="{0BA429C8-BACE-3223-8327-A0D900DB2A19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5938838" y="37226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BCE757-D31C-4E52-8DB7-6D798CBE4F00}" type="datetime'''''''''''''''7''''''''''''''''''''''''7.''0''''''''''''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0%</a:t>
            </a:fld>
            <a:endParaRPr lang="zh-CN" altLang="en-US" sz="1000" b="1" dirty="0"/>
          </a:p>
        </p:txBody>
      </p:sp>
      <p:sp useBgFill="1">
        <p:nvSpPr>
          <p:cNvPr id="323" name="Text Placeholder 2">
            <a:extLst>
              <a:ext uri="{FF2B5EF4-FFF2-40B4-BE49-F238E27FC236}">
                <a16:creationId xmlns:a16="http://schemas.microsoft.com/office/drawing/2014/main" id="{14679287-3FA1-BB93-743D-B4D503D425D8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5938838" y="40163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C07AB3-3B1C-407B-861D-22DD6501860C}" type="datetime'''''''''7''''''''''''''''''''4''.''''''''''9''''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9%</a:t>
            </a:fld>
            <a:endParaRPr lang="zh-CN" altLang="en-US" sz="1000" b="1" dirty="0"/>
          </a:p>
        </p:txBody>
      </p:sp>
      <p:sp useBgFill="1">
        <p:nvSpPr>
          <p:cNvPr id="234" name="Text Placeholder 2">
            <a:extLst>
              <a:ext uri="{FF2B5EF4-FFF2-40B4-BE49-F238E27FC236}">
                <a16:creationId xmlns:a16="http://schemas.microsoft.com/office/drawing/2014/main" id="{60DCDCDE-DE91-7B3A-F78F-F1D4F0E26FD3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938838" y="47910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3665F0-0A5C-4BC3-A02E-6ECF2DB67B4C}" type="datetime'''''''''''''4''2''''''.''''''''''''''6''''''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6%</a:t>
            </a:fld>
            <a:endParaRPr lang="zh-CN" altLang="en-US" sz="1000" b="1" dirty="0"/>
          </a:p>
        </p:txBody>
      </p:sp>
      <p:sp useBgFill="1">
        <p:nvSpPr>
          <p:cNvPr id="235" name="Text Placeholder 2">
            <a:extLst>
              <a:ext uri="{FF2B5EF4-FFF2-40B4-BE49-F238E27FC236}">
                <a16:creationId xmlns:a16="http://schemas.microsoft.com/office/drawing/2014/main" id="{797EE78A-9753-1BA0-A1B1-6C2DA42B7161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5708650" y="44291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340C3E7-6087-4A49-BF02-C9EE9D69D8F7}" type="datetime'''''''''''''''''''''''5''''2''''''.''''''''''''7''%''''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2.7%</a:t>
            </a:fld>
            <a:endParaRPr lang="zh-CN" altLang="en-US" sz="1000" b="1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42F8D311-7E6F-4477-17A1-839727351EFA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015038" y="6075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6CE807-F47E-46DE-B463-04BBF1A07AF9}" type="datetime'3''''月''''''''''''''''''''''''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324" name="Text Placeholder 2">
            <a:extLst>
              <a:ext uri="{FF2B5EF4-FFF2-40B4-BE49-F238E27FC236}">
                <a16:creationId xmlns:a16="http://schemas.microsoft.com/office/drawing/2014/main" id="{C675B48C-1702-8807-FC1D-F918F497EAAA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6975475" y="37814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5830D4-CFC8-4B8A-A6F4-28911A40FA91}" type="datetime'''''''''''''''''7''''''''''4.6''''''%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6%</a:t>
            </a:fld>
            <a:endParaRPr lang="zh-CN" altLang="en-US" sz="1000" b="1" dirty="0"/>
          </a:p>
        </p:txBody>
      </p:sp>
      <p:sp useBgFill="1">
        <p:nvSpPr>
          <p:cNvPr id="236" name="Text Placeholder 2">
            <a:extLst>
              <a:ext uri="{FF2B5EF4-FFF2-40B4-BE49-F238E27FC236}">
                <a16:creationId xmlns:a16="http://schemas.microsoft.com/office/drawing/2014/main" id="{2B3F894D-1322-5D86-909D-C929B11FABE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975475" y="43529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1837AE-1B18-481A-BDCA-800D5B3E6C80}" type="datetime'50''''.''''''''''''''8''''''''''''%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8%</a:t>
            </a:fld>
            <a:endParaRPr lang="zh-CN" altLang="en-US" sz="1000" b="1" dirty="0"/>
          </a:p>
        </p:txBody>
      </p:sp>
      <p:sp useBgFill="1">
        <p:nvSpPr>
          <p:cNvPr id="238" name="Text Placeholder 2">
            <a:extLst>
              <a:ext uri="{FF2B5EF4-FFF2-40B4-BE49-F238E27FC236}">
                <a16:creationId xmlns:a16="http://schemas.microsoft.com/office/drawing/2014/main" id="{D714F198-3F44-1DC8-6C90-C11987CD495A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745288" y="45894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75FED36-499C-404D-B930-8888AEE522B3}" type="datetime'''''4''6''.''''0%''''''''''''''''''''''''''''''''''''''''''''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b="1" dirty="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80A5DFB3-6587-14C9-BDF0-A1DB122EF862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757238" y="49387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487565-CCF6-41A8-B962-EECEB69261F4}" type="datetime'''''''''''''''3''''''''''''6''''''''''.5''''''''''''''''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4D25E7F5-3CDE-51ED-313A-5F8B67587C67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7051675" y="6075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9F5C79-2BE3-4D1E-B977-87F7910ED9F7}" type="datetime'''''''''''''''''''''''''4''月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325" name="Text Placeholder 2">
            <a:extLst>
              <a:ext uri="{FF2B5EF4-FFF2-40B4-BE49-F238E27FC236}">
                <a16:creationId xmlns:a16="http://schemas.microsoft.com/office/drawing/2014/main" id="{28E8E794-E4FB-AF8C-2DD5-FDA56644412F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8010525" y="36766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BC6EEB-5BCD-49E6-997F-4C924F426796}" type="datetime'''78''''''.9''%''''''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9%</a:t>
            </a:fld>
            <a:endParaRPr lang="zh-CN" altLang="en-US" sz="1000" b="1" dirty="0"/>
          </a:p>
        </p:txBody>
      </p:sp>
      <p:sp>
        <p:nvSpPr>
          <p:cNvPr id="326" name="Text Placeholder 2">
            <a:extLst>
              <a:ext uri="{FF2B5EF4-FFF2-40B4-BE49-F238E27FC236}">
                <a16:creationId xmlns:a16="http://schemas.microsoft.com/office/drawing/2014/main" id="{9BF3C40B-7838-5FF8-C6E9-D929E92FC722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8010525" y="52292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419F03-15ED-4CB0-A660-F1CAE0E1FDFD}" type="datetime'''''''''''''''2''4''.''''''''''''''''4%''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4%</a:t>
            </a:fld>
            <a:endParaRPr lang="zh-CN" altLang="en-US" sz="1000" b="1" dirty="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CCC65C8C-341A-214A-942A-F5B6502996A8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8010525" y="47879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31D2FC-95F6-495E-90CC-A2CA3E285DCF}" type="datetime'''''''''32.''''''''''''''''''''''''7''''''''''%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7%</a:t>
            </a:fld>
            <a:endParaRPr lang="zh-CN" altLang="en-US" sz="10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230FB558-1CEB-0B1D-CED9-50B2D3DC472F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8242300" y="49545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4A595A-1EC8-4BFF-9981-3F590E3CC050}" type="datetime'''''3''''''0''.8''''''''''''''''''''%''''''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8%</a:t>
            </a:fld>
            <a:endParaRPr lang="zh-CN" altLang="en-US" sz="1000" b="1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A56BEB96-6962-1A2F-0AAA-ADD759DDC293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757238" y="43227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DB5863-A40B-4214-943D-B0DCFFDFDBF6}" type="datetime'''''''''52''.''''''''''''''''''''''''''0''''''''''''''''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0%</a:t>
            </a:fld>
            <a:endParaRPr lang="zh-CN" altLang="en-US" sz="1000" b="1" dirty="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D2BB1F52-BB32-8E9B-FB00-AD7EFCD1740F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7978775" y="6075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C7964E-41CD-4864-BACE-361596BBF9CD}" type="datetime'5''''''月''''''m''''''''''''''''''''''''''''''''t''''d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 useBgFill="1">
        <p:nvSpPr>
          <p:cNvPr id="227" name="Text Placeholder 2">
            <a:extLst>
              <a:ext uri="{FF2B5EF4-FFF2-40B4-BE49-F238E27FC236}">
                <a16:creationId xmlns:a16="http://schemas.microsoft.com/office/drawing/2014/main" id="{B9D3F3BE-0AB2-E7A4-4394-3D99AB8502DD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1793875" y="44338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8FFE6F-D239-435E-8BA5-72350250C5DF}" type="datetime'''''''''''''''''''4''''7''.''4''''''''''''''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4%</a:t>
            </a:fld>
            <a:endParaRPr lang="zh-CN" altLang="en-US" sz="1000" b="1" dirty="0"/>
          </a:p>
        </p:txBody>
      </p:sp>
      <p:cxnSp>
        <p:nvCxnSpPr>
          <p:cNvPr id="338" name="直线连接符 337">
            <a:extLst>
              <a:ext uri="{FF2B5EF4-FFF2-40B4-BE49-F238E27FC236}">
                <a16:creationId xmlns:a16="http://schemas.microsoft.com/office/drawing/2014/main" id="{7F455BB7-47EB-B315-CE9B-64AAE1ADD9D6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80962" y="6376988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0" name="直线连接符 339">
            <a:extLst>
              <a:ext uri="{FF2B5EF4-FFF2-40B4-BE49-F238E27FC236}">
                <a16:creationId xmlns:a16="http://schemas.microsoft.com/office/drawing/2014/main" id="{9155BCB0-7E6E-C07F-3B3B-D76E19BD8BDD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950913" y="6376988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直线连接符 341">
            <a:extLst>
              <a:ext uri="{FF2B5EF4-FFF2-40B4-BE49-F238E27FC236}">
                <a16:creationId xmlns:a16="http://schemas.microsoft.com/office/drawing/2014/main" id="{0CDC5088-2EB4-C782-0D5C-28A2A0B2A173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1820863" y="6376988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4" name="直线连接符 343">
            <a:extLst>
              <a:ext uri="{FF2B5EF4-FFF2-40B4-BE49-F238E27FC236}">
                <a16:creationId xmlns:a16="http://schemas.microsoft.com/office/drawing/2014/main" id="{78136D36-B2D9-572D-F7F9-A1A0B3AFF262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2690813" y="6376988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0440638E-E060-B263-B966-46F74F4150E8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484188" y="62944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DF4371-8EE7-4E43-810E-1823CF860092}" type="datetime'''''''''''''''''''''''''''''''电''''''销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4F9C37EA-83F8-09EB-0F4F-623308EE52E0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1354138" y="62944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8EFC6D-BF8D-4D1A-AF8F-D4A800B41E98}" type="datetime'''''''''''''''''''''''渠''''''''道''''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DF79A4D2-F5B2-C27B-EEE6-F30CA21E0F1A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2224088" y="62944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C0ADEE-FC49-4D0D-8237-45CF71144C4A}" type="datetime'''直''''''''''''''''''''''''''''''''''''''营'''''''''''''">
              <a:rPr kumimoji="1" lang="zh-CN" altLang="en-US" sz="1400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0F31D9D8-583E-370B-985B-D04D8EFA4BCA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3094038" y="6294438"/>
            <a:ext cx="168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283283-F7EA-486B-B787-40E3FAFA56B3}" type="datetime'a''''''''''''''''''''''''''''''''''''l''''''l'">
              <a:rPr kumimoji="1" lang="zh-CN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kumimoji="1" lang="zh-CN" altLang="en-US" sz="1400" dirty="0"/>
          </a:p>
        </p:txBody>
      </p:sp>
      <p:sp>
        <p:nvSpPr>
          <p:cNvPr id="391" name="文本框 390">
            <a:extLst>
              <a:ext uri="{FF2B5EF4-FFF2-40B4-BE49-F238E27FC236}">
                <a16:creationId xmlns:a16="http://schemas.microsoft.com/office/drawing/2014/main" id="{E5ED3896-850F-3BCC-CCF6-B7A947977F20}"/>
              </a:ext>
            </a:extLst>
          </p:cNvPr>
          <p:cNvSpPr txBox="1"/>
          <p:nvPr/>
        </p:nvSpPr>
        <p:spPr>
          <a:xfrm>
            <a:off x="3568700" y="0"/>
            <a:ext cx="15636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总收入</a:t>
            </a:r>
            <a:r>
              <a:rPr kumimoji="1" lang="en-US" altLang="zh-CN" b="1" dirty="0"/>
              <a:t>by</a:t>
            </a:r>
            <a:r>
              <a:rPr kumimoji="1" lang="zh-CN" altLang="en-US" b="1" dirty="0"/>
              <a:t>团队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B64C79F-637C-1DD9-C7B2-D4FA6C7B2E02}"/>
              </a:ext>
            </a:extLst>
          </p:cNvPr>
          <p:cNvSpPr txBox="1"/>
          <p:nvPr/>
        </p:nvSpPr>
        <p:spPr>
          <a:xfrm>
            <a:off x="3833813" y="3276085"/>
            <a:ext cx="12147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分团队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539381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1E7E73-A428-B97A-638A-EE8ACC7EBB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29B2DF0-ED90-407E-0208-8DA58F7D33E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0793031"/>
              </p:ext>
            </p:extLst>
          </p:nvPr>
        </p:nvGraphicFramePr>
        <p:xfrm>
          <a:off x="1192" y="85844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0" imgW="7772400" imgH="10058400" progId="TCLayout.ActiveDocument.1">
                  <p:embed/>
                </p:oleObj>
              </mc:Choice>
              <mc:Fallback>
                <p:oleObj name="think-cell 幻灯片" r:id="rId13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1"/>
                      <a:stretch>
                        <a:fillRect/>
                      </a:stretch>
                    </p:blipFill>
                    <p:spPr>
                      <a:xfrm>
                        <a:off x="1192" y="85844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03" name="Chart 3">
            <a:extLst>
              <a:ext uri="{FF2B5EF4-FFF2-40B4-BE49-F238E27FC236}">
                <a16:creationId xmlns:a16="http://schemas.microsoft.com/office/drawing/2014/main" id="{46F4C4F5-5C35-E21E-1C66-FB4D16AEE9F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1974488"/>
              </p:ext>
            </p:extLst>
          </p:nvPr>
        </p:nvGraphicFramePr>
        <p:xfrm>
          <a:off x="168275" y="558800"/>
          <a:ext cx="2686050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2"/>
          </a:graphicData>
        </a:graphic>
      </p:graphicFrame>
      <p:cxnSp>
        <p:nvCxnSpPr>
          <p:cNvPr id="604" name="直线连接符 603">
            <a:extLst>
              <a:ext uri="{FF2B5EF4-FFF2-40B4-BE49-F238E27FC236}">
                <a16:creationId xmlns:a16="http://schemas.microsoft.com/office/drawing/2014/main" id="{E8425477-378B-D4B4-293B-C610DE753BB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667000" y="1458913"/>
            <a:ext cx="58738" cy="50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81CC49A4-30A4-E217-28C4-CB133BA44DF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68275" y="8461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BE3950-61CE-48BF-8051-DBAD4ED896D7}" type="datetime'0.''3''''''''''%''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832EA88C-B9C4-CED6-C943-FB1918883A9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95275" y="1008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81EA1-D66D-4BDC-A4C2-14065AA6AA4D}" type="datetime'''''''''''''''''''''''''2''''''6.9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EFB6202A-5144-47BB-F96E-B4BCFC8814E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95275" y="19351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521248-2D0C-4123-A758-A74447104419}" type="datetime'''''''''7''''''''''''2''''''''''.''''''''''''''8''''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E045A586-9150-DEC3-29B8-DF60787E2D8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588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5B43E-FF3A-44A5-B442-E5231B1ED2D0}" type="datetime'F''''Y''''''26''''''Q''''''''''''''''''2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15105D0-91CC-6657-7A5E-303FE965831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949325" y="6556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7753AF-E59C-4AFC-97EA-EA044F232FA8}" type="datetime'''''''''''''''''''''0''''''''.''4%''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ED49F1C-D7EE-0F85-B94E-016FC499063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14400" y="8620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BAA06A-EDD8-419F-9604-445123F81720}" type="datetime'''''2''''''''''''''7''''''''''.6''''''''''''''''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6%</a:t>
            </a:fld>
            <a:endParaRPr lang="zh-CN" altLang="en-US" sz="10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5361584-88C6-9ED2-A638-71890C920F2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914400" y="18764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DF4627-257A-43CE-A212-D13CA56454DD}" type="datetime'''''''''7''''''''''''''''''''''2''''''''''.''''''''''1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1%</a:t>
            </a:fld>
            <a:endParaRPr lang="zh-CN" altLang="en-US" sz="1000" dirty="0"/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BEBC6884-37B8-E9BD-228A-7649710223B5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841375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B8DFF9-5986-4DF6-AF49-BED4AD98254B}" type="datetime'''''''F''''''Y''''''''2''''''''''''6Q''''3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6B5B57-F58A-114A-B876-A8B61B969CF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782763" y="8096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2B8F6C-3415-4E68-BA02-09E2207F97D2}" type="datetime'0''''''''.''''''''''''''''3''''''''''''''''%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D89EA53-AF6A-EA1C-726E-E98F1E5EDDB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754188" y="11096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2599FC-FE50-4E0E-AEE6-BB85999BF982}" type="datetime'''''''''''''2''''''''9''''''.''''5''''''''''''''''''%''''''''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.5%</a:t>
            </a:fld>
            <a:endParaRPr lang="zh-CN" altLang="en-US" sz="1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CA18B3F-70A6-275C-59D2-8D4A03ADBC9D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1755775" y="19335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933DA9-2389-41FC-9771-EDAAE4A27B81}" type="datetime'''''''''''''70''''''''''''.1''''''%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1%</a:t>
            </a:fld>
            <a:endParaRPr lang="zh-CN" altLang="en-US" sz="1000" dirty="0"/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9D8614F9-B7DA-F476-C993-E12F6F17B539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682750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5D22D7-9AA4-4819-944F-53D8B0B6271D}" type="datetime'''''''''''FY''''26''''''''''''''''''''''''''Q''''''''4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1BACB5C-70AB-C883-1D62-055103221F4C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444750" y="150971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DEA050-6F0A-4642-BC62-7C47FF6213EA}" type="datetime'''''0''''''''''''.''''''''''''''''''4''''''%''''''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3A6BD552-9FAD-9CE8-FE31-AE62D3CAB9C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414588" y="16922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B73FB1-52CB-43D6-8682-7EECABCDDC89}" type="datetime'28''''''''''''''''''''''''''''''''''.''''6''''%'''''''''''''">
              <a:rPr lang="zh-CN" altLang="en-US" sz="1000" smtClean="0">
                <a:effectLst/>
              </a:rPr>
              <a:pPr/>
              <a:t>28.6%</a:t>
            </a:fld>
            <a:endParaRPr lang="zh-CN" altLang="en-US" sz="10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77BE60E-38BC-D1CA-6416-9504C40E11C1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374900" y="2192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ED6A97-751B-4667-AEE5-5C42882089DA}" type="datetime'''''''''7''''''''''''''''''1''''.''0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0%</a:t>
            </a:fld>
            <a:endParaRPr lang="zh-CN" altLang="en-US" sz="1000" dirty="0"/>
          </a:p>
        </p:txBody>
      </p:sp>
      <p:sp>
        <p:nvSpPr>
          <p:cNvPr id="47" name="文本占位符 2">
            <a:extLst>
              <a:ext uri="{FF2B5EF4-FFF2-40B4-BE49-F238E27FC236}">
                <a16:creationId xmlns:a16="http://schemas.microsoft.com/office/drawing/2014/main" id="{1175FC0C-57BE-1B73-93A3-9C0E93EBAA85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2455863" y="2730500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0D27CB-1019-4CB7-AE72-17FE2C6847A8}" type="datetime'FY''''''''''''2''''''''''''''''7''''''''''''Q1''''''''td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 useBgFill="1">
        <p:nvSpPr>
          <p:cNvPr id="143" name="Text Placeholder 2">
            <a:extLst>
              <a:ext uri="{FF2B5EF4-FFF2-40B4-BE49-F238E27FC236}">
                <a16:creationId xmlns:a16="http://schemas.microsoft.com/office/drawing/2014/main" id="{8E15C6E2-EB64-135B-A4ED-7A96A381E1F6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0" y="608013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21EF1F-7385-4558-B2E2-DDD0B11BA0A6}" type="datetime'''''''''''18''''''''''5''''2''''''''''2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52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B754D4B0-2DE7-54A3-81AD-6268573892F5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839788" y="42703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7D895-4035-4150-A44C-D26B661F7675}" type="datetime'20''''''''''''''3''''''''''''''''''''''''''''''21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21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9E60089-C418-5362-348F-F4DEB9B0CCC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681163" y="531813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C2714-B831-46E4-95E8-0213D6340AB6}" type="datetime'''''1''''''''''''''''9''''''''2''''''''7''''''''''6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76</a:t>
            </a:fld>
            <a:endParaRPr kumimoji="1" lang="zh-CN" altLang="en-US" sz="1400" dirty="0"/>
          </a:p>
        </p:txBody>
      </p:sp>
      <p:sp useBgFill="1">
        <p:nvSpPr>
          <p:cNvPr id="55" name="Text Placeholder 2">
            <a:extLst>
              <a:ext uri="{FF2B5EF4-FFF2-40B4-BE49-F238E27FC236}">
                <a16:creationId xmlns:a16="http://schemas.microsoft.com/office/drawing/2014/main" id="{87051402-CE9F-C155-7A59-9A0A0C41DDFA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2520950" y="1284288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348B61-2C17-4219-A0F7-6CC8FAC4C27B}" type="datetime'''1''''''1''''''''''7''''7''''''''''''''''9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779</a:t>
            </a:fld>
            <a:endParaRPr kumimoji="1" lang="zh-CN" altLang="en-US" sz="1400" dirty="0"/>
          </a:p>
        </p:txBody>
      </p:sp>
      <p:graphicFrame>
        <p:nvGraphicFramePr>
          <p:cNvPr id="610" name="Chart 3">
            <a:extLst>
              <a:ext uri="{FF2B5EF4-FFF2-40B4-BE49-F238E27FC236}">
                <a16:creationId xmlns:a16="http://schemas.microsoft.com/office/drawing/2014/main" id="{B337A370-E26A-1C23-8417-FE487B3D698D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373276909"/>
              </p:ext>
            </p:extLst>
          </p:nvPr>
        </p:nvGraphicFramePr>
        <p:xfrm>
          <a:off x="3213100" y="474663"/>
          <a:ext cx="2546350" cy="228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3"/>
          </a:graphicData>
        </a:graphic>
      </p:graphicFrame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144A352E-A0E2-AC43-8D70-897EF9FD0FFE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V="1">
            <a:off x="4038600" y="560388"/>
            <a:ext cx="50800" cy="88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8F64D47A-1546-D907-88D5-2DBC2698AF42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3243263" y="16478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1D3F93-8C7A-4B28-81E2-6D35A5733B49}" type="datetime'''0.''''''''3''''''''''''''''''''''%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83B91184-533C-E835-D1CB-D308592412D5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3340100" y="177165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DDDD5E-03D3-48CA-8849-BD5ECD8923B2}" type="datetime'2''''''''''''''''''''7''''''.''''''''''9''%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dirty="0"/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6AD930CC-1BE1-DFE1-9FC5-1A8F97B05F74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3340100" y="22606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62B5E0-65B7-4136-884D-7A540BDE34E3}" type="datetime'''''''''''''''''''''''7''''''''''1''''.''''8''''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8%</a:t>
            </a:fld>
            <a:endParaRPr lang="zh-CN" altLang="en-US" sz="1000" dirty="0"/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76667F64-6B7F-F26E-6060-38B9EABDAFD0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3175000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777A5B-4224-40C5-8F30-9D83689B8C49}" type="datetime'''''''''''2''''''''月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4820764B-EC03-32F5-0D61-203DC5C1D2C4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857625" y="6492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1DE005-B0C6-48B3-9325-E30D859CE9C7}" type="datetime'''''0''''''''''''''''.3''''%'''''''''''">
              <a:rPr lang="zh-CN" altLang="en-US" sz="1000" smtClean="0">
                <a:effectLst/>
              </a:rPr>
              <a:pPr/>
              <a:t>0.3%</a:t>
            </a:fld>
            <a:endParaRPr lang="zh-CN" altLang="en-US" sz="1000" dirty="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FCE9BE95-43D0-C2E6-4CEE-0EC05150B678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3930650" y="957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2E1B87-8F73-479E-80D8-90B9D2F54D78}" type="datetime'''''2''''''''''''''''8''''.''''''''''''3''%'''''''''''">
              <a:rPr lang="zh-CN" altLang="en-US" sz="1000" smtClean="0"/>
              <a:pPr/>
              <a:t>28.3%</a:t>
            </a:fld>
            <a:endParaRPr lang="zh-CN" altLang="en-US" sz="1000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B0C8BDE4-D21A-128A-67EF-5B456E044C9F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3913188" y="1854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A9FC6F-9512-4EA0-AEB1-EE53894F2087}" type="datetime'7''''''''''''''1''.3''''''''''''''''''''%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3%</a:t>
            </a:fld>
            <a:endParaRPr lang="zh-CN" altLang="en-US" sz="1000" dirty="0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912AC64F-142E-3AB7-93F8-F80441B48196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3968750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865874-E3F6-440D-991F-12FEF04A4902}" type="datetime'''''''''''''''''3''''''''''''月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0818661E-4A20-1B47-B6CA-C39E7F668282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705350" y="7604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FA0F41-789E-490B-A89C-FE7BD35EEE7A}" type="datetime'''''''''''''''''''''''''0''''''.''''''''4''''''''''%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DA73BCBE-DD27-67B2-263C-3D6B443F799F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708525" y="1087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1A8051-00F2-439B-8B5D-CB5826530454}" type="datetime'''''3''''''''''''''''''0''.''''''''4''''''''''''''''%'''">
              <a:rPr lang="zh-CN" altLang="en-US" sz="1000" smtClean="0">
                <a:effectLst/>
              </a:rPr>
              <a:pPr/>
              <a:t>30.4%</a:t>
            </a:fld>
            <a:endParaRPr lang="zh-CN" altLang="en-US" sz="1000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1E5085A9-8891-8B13-8AFE-8575747DDC15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4706938" y="1939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B03FBD-589B-4F32-AF1F-0B8D3FB5067C}" type="datetime'''''''''''''6''''9''''''''''''''''''.''''''2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2%</a:t>
            </a:fld>
            <a:endParaRPr lang="zh-CN" altLang="en-US" sz="1000" dirty="0"/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3AF5EDC2-3639-AEB0-CE62-912D2FEAAB43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4762500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214-2197-4257-96AB-67AEC7FA68FA}" type="datetime'''''4''''''''''''''''''''''''''''''''''''''''''''月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DE90C061-87C2-AC6B-4488-F8B096BC10B5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381625" y="16287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7A0F09-D056-441C-914B-8A97490E521E}" type="datetime'''''''''''''''''''''0''.''''''''''''''4''''''%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7EC98D38-C9FC-9F53-F148-09FA8F507DD2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5381625" y="183356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D38451-6E9A-4272-A396-DB6A932B7E6D}" type="datetime'2''''''''''5.''''''''''''''''3''''''''''''''%'''''''''">
              <a:rPr lang="zh-CN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.3%</a:t>
            </a:fld>
            <a:endParaRPr lang="zh-CN" altLang="en-US" sz="1000" dirty="0"/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3609788E-3D58-9EDA-775F-E8E2F2F2855C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5280025" y="2230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F82B66-84B2-4FBD-AAAC-B84FE6EBB3F4}" type="datetime'''''''''''''''74''''''''''''''''.''''''''''''''3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3%</a:t>
            </a:fld>
            <a:endParaRPr lang="zh-CN" altLang="en-US" sz="1000" dirty="0"/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1F42DDFE-7E3B-1A31-8AB3-56CE3299936B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5427663" y="2730500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22E4C-3000-426E-B25F-9506F0B238B2}" type="datetime'5月''m''t''''''''d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253" name="Text Placeholder 2">
            <a:extLst>
              <a:ext uri="{FF2B5EF4-FFF2-40B4-BE49-F238E27FC236}">
                <a16:creationId xmlns:a16="http://schemas.microsoft.com/office/drawing/2014/main" id="{E8A99B65-511B-2C7D-9E96-77C129158969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3089275" y="14859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2D6976-0A1F-4DD9-B097-B03471BE6093}" type="datetime'''''''3''''''''''''''''''''''''''''''''''''8''''''''''92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92</a:t>
            </a:fld>
            <a:endParaRPr kumimoji="1" lang="zh-CN" altLang="en-US" sz="1400" dirty="0"/>
          </a:p>
        </p:txBody>
      </p:sp>
      <p:sp useBgFill="1">
        <p:nvSpPr>
          <p:cNvPr id="254" name="Text Placeholder 2">
            <a:extLst>
              <a:ext uri="{FF2B5EF4-FFF2-40B4-BE49-F238E27FC236}">
                <a16:creationId xmlns:a16="http://schemas.microsoft.com/office/drawing/2014/main" id="{2CE7FBC1-E340-0A42-87FF-0EEA44FB84C0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3873500" y="4270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29E707-C3DC-4B81-BC95-65A88B606F2E}" type="datetime'''''''''''8''''4''''3''''''''''''''''4'''''''''''''''''''''''">
              <a:rPr kumimoji="1" lang="zh-CN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3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6B92B73E-4703-5779-1D80-632CA5EC4693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4676775" y="5254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398C94-6E32-442C-A943-07BEBC68D4A7}" type="datetime'7''''''''''''''7''''''''0''''6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6</a:t>
            </a:fld>
            <a:endParaRPr kumimoji="1" lang="zh-CN" altLang="en-US" sz="1400" dirty="0"/>
          </a:p>
        </p:txBody>
      </p:sp>
      <p:sp useBgFill="1">
        <p:nvSpPr>
          <p:cNvPr id="256" name="Text Placeholder 2">
            <a:extLst>
              <a:ext uri="{FF2B5EF4-FFF2-40B4-BE49-F238E27FC236}">
                <a16:creationId xmlns:a16="http://schemas.microsoft.com/office/drawing/2014/main" id="{52C06F19-C909-09F1-0944-8E3DE2DC9998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470525" y="14398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9AE17-DED9-40F2-BC8B-3080ED230C6B}" type="datetime'''''''''''''4''''''''''''''0''''''''73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73</a:t>
            </a:fld>
            <a:endParaRPr kumimoji="1" lang="zh-CN" altLang="en-US" sz="1400" dirty="0"/>
          </a:p>
        </p:txBody>
      </p:sp>
      <p:graphicFrame>
        <p:nvGraphicFramePr>
          <p:cNvPr id="607" name="Chart 3">
            <a:extLst>
              <a:ext uri="{FF2B5EF4-FFF2-40B4-BE49-F238E27FC236}">
                <a16:creationId xmlns:a16="http://schemas.microsoft.com/office/drawing/2014/main" id="{1F1B25F1-A5E2-F3F1-72B8-17F5A040BFDD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308230308"/>
              </p:ext>
            </p:extLst>
          </p:nvPr>
        </p:nvGraphicFramePr>
        <p:xfrm>
          <a:off x="6049963" y="558800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4"/>
          </a:graphicData>
        </a:graphic>
      </p:graphicFrame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C3F1C5D2-7B7F-5D06-663A-538BACB1F2B7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6096000" y="10001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79BF15-19FF-427F-8A48-5668137405E7}" type="datetime'''''''''''''''''0.''''''5''''''''''''''''''''''''''''''''''%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8774917C-0AE1-64A2-5510-A5610A763B3C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6176963" y="12334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1A700-EDF9-4C4C-B76E-3AA6A5551DAD}" type="datetime'''''''''''''''''''3''''''''''3''''''''.''''''8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.8%</a:t>
            </a:fld>
            <a:endParaRPr lang="zh-CN" altLang="en-US" sz="1000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88DC3794-27D3-466E-4DF3-A6A4D11E2485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6176963" y="2063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44AB00-681A-420E-81A5-4D1B4E9738CF}" type="datetime'''''''''''65''''.''''''''''''''''''''''''''''''''''7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7%</a:t>
            </a:fld>
            <a:endParaRPr lang="zh-CN" altLang="en-US" sz="1000" dirty="0"/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E1627C50-3A31-B78C-3FC1-C58C66DF6CB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6018213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A88413-88B6-4B6B-B06F-0B3EBDCA5179}" type="datetime'''''''''''''W''''''''''''''4''''''''''''''''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8742EE0D-0CC5-0B6E-A41E-5675FCAEE772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6886575" y="7000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BCFE4D-17A2-473B-A46C-81A563017262}" type="datetime'''''''''''''''''0''''''.2''''''''%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0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341AB824-1F3C-3407-7E00-AD1AF89FE7F6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6867525" y="11049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34922B-5F64-4FFB-BC95-32E4EA68331A}" type="datetime'''''''''''''''''''''''''''''''''''3''''''''''6.''1''%'''">
              <a:rPr lang="zh-CN" altLang="en-US" sz="1000" smtClean="0"/>
              <a:pPr/>
              <a:t>36.1%</a:t>
            </a:fld>
            <a:endParaRPr lang="zh-CN" altLang="en-US" sz="1000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C46A85D9-F88C-A5DD-C0CC-1370207EBB53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6850063" y="19621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0B8423-4319-4CD5-A34E-391F5FAE9DAE}" type="datetime'''''''''6''3''.''''''''''''''7''''''%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7%</a:t>
            </a:fld>
            <a:endParaRPr lang="zh-CN" altLang="en-US" sz="1000" dirty="0"/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12226DAC-EAA2-C1FA-FF60-D5E7DB008709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6911975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42668D-F8E8-4360-A7AA-2BE0D644C4EC}" type="datetime'''''''''''''''''''''''''''''''''''''''W''3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ADA10989-C850-F557-9CB4-1503654BC4F7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7777163" y="11255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138901-2B0B-4651-82E2-AF5C65CD4FE6}" type="datetime'''0''''''.''''''''''''''''''''''''''''''6''''''''''''''''%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0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3116BED0-5114-4381-51EF-995E4D535D00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7747000" y="1377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572273-F7C4-4053-85E1-1F9F485ACBF2}" type="datetime'''''''''''''24''''''''''''''.''''''''''''''''''''9%'">
              <a:rPr lang="zh-CN" altLang="en-US" sz="1000" smtClean="0"/>
              <a:pPr/>
              <a:t>24.9%</a:t>
            </a:fld>
            <a:endParaRPr lang="zh-CN" altLang="en-US" sz="1000" dirty="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0FD54186-574D-86AC-1F8A-D2E95C55BE6B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7745413" y="2035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B8B1A9-F2BE-4832-9AD2-3C00A71818FE}" type="datetime'''''''''''''''''''''''''''7''''4''.''''''''''5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5%</a:t>
            </a:fld>
            <a:endParaRPr lang="zh-CN" altLang="en-US" sz="1000" dirty="0"/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D4F5A6F1-E332-69F7-E3B5-F85FB73530E3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7807325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5BA89E-9BA7-42AF-8FB8-C689E3A7C4E0}" type="datetime'''''''''W''''''''''''''''''''''''''2''''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B2635521-33B4-7830-3942-42AC582C87CA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8518525" y="11826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E43B5C-D933-451C-9A55-922653AB4EDD}" type="datetime'''0''''''.''''''''''''4''''''''''''''''''''%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33A35628-E2D7-89AB-22D4-976C22A1E6C1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8418513" y="1330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06CC37-3232-4A96-B45C-76A1A09DE267}" type="datetime'''''''2''''''''7''''''.''''''''''2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E83C1836-30B3-809C-B236-1EE9305779B3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8418513" y="20716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0E2AA9-F4D1-4AAF-9660-A9A1838E9C68}" type="datetime'''''7''''''2''''''''''.''4%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4%</a:t>
            </a:fld>
            <a:endParaRPr lang="zh-CN" altLang="en-US" sz="1000" dirty="0"/>
          </a:p>
        </p:txBody>
      </p:sp>
      <p:sp>
        <p:nvSpPr>
          <p:cNvPr id="301" name="文本占位符 2">
            <a:extLst>
              <a:ext uri="{FF2B5EF4-FFF2-40B4-BE49-F238E27FC236}">
                <a16:creationId xmlns:a16="http://schemas.microsoft.com/office/drawing/2014/main" id="{2F89934B-3981-39FF-F015-15DE6B94A403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8701088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1561F-79DD-45BA-BFBB-370E42C08A75}" type="datetime'''''''''''''''''''''''''''W''''''''''''1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 useBgFill="1">
        <p:nvSpPr>
          <p:cNvPr id="302" name="Text Placeholder 2">
            <a:extLst>
              <a:ext uri="{FF2B5EF4-FFF2-40B4-BE49-F238E27FC236}">
                <a16:creationId xmlns:a16="http://schemas.microsoft.com/office/drawing/2014/main" id="{AF420D37-B04E-20BD-25D1-39CF7A526358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5926137" y="7969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36F76C-6C08-4812-AEB7-D384804B1C43}" type="datetime'''''''1''''''''7''''''''7''''''''''8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8</a:t>
            </a:fld>
            <a:endParaRPr kumimoji="1" lang="zh-CN" altLang="en-US" sz="1400" dirty="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7B0D0F83-1C26-61C4-2F58-96C0853CAF9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6819900" y="42703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64C448-4E84-454E-AA0C-3CEB0CA51B99}" type="datetime'2''''1''''''''''7''''''''''''''''''''2''''''''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2</a:t>
            </a:fld>
            <a:endParaRPr kumimoji="1" lang="zh-CN" altLang="en-US" sz="1400" dirty="0"/>
          </a:p>
        </p:txBody>
      </p:sp>
      <p:sp useBgFill="1">
        <p:nvSpPr>
          <p:cNvPr id="304" name="Text Placeholder 2">
            <a:extLst>
              <a:ext uri="{FF2B5EF4-FFF2-40B4-BE49-F238E27FC236}">
                <a16:creationId xmlns:a16="http://schemas.microsoft.com/office/drawing/2014/main" id="{EFC5199A-C6C3-FD10-AFC9-647BAFE1D4DB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7715250" y="9159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2320-72A7-4FED-B036-7C44AC04AF77}" type="datetime'''1''''''''''''65''''''''''''''0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0</a:t>
            </a:fld>
            <a:endParaRPr kumimoji="1" lang="zh-CN" altLang="en-US" sz="1400" dirty="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16755EE7-D719-34B4-9638-192344E53979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8609013" y="9763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44D33A-FE41-4980-A244-EC90E1BE291D}" type="datetime'''''''1''''''''''''''''''''''''''''''''''''5''''86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86</a:t>
            </a:fld>
            <a:endParaRPr kumimoji="1" lang="zh-CN" altLang="en-US" sz="1400" dirty="0"/>
          </a:p>
        </p:txBody>
      </p:sp>
      <p:sp>
        <p:nvSpPr>
          <p:cNvPr id="311" name="文本框 310">
            <a:extLst>
              <a:ext uri="{FF2B5EF4-FFF2-40B4-BE49-F238E27FC236}">
                <a16:creationId xmlns:a16="http://schemas.microsoft.com/office/drawing/2014/main" id="{5319784B-715F-4994-8B83-7C4B4DFBAE33}"/>
              </a:ext>
            </a:extLst>
          </p:cNvPr>
          <p:cNvSpPr txBox="1"/>
          <p:nvPr/>
        </p:nvSpPr>
        <p:spPr>
          <a:xfrm>
            <a:off x="4151996" y="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  <p:graphicFrame>
        <p:nvGraphicFramePr>
          <p:cNvPr id="613" name="Chart 3">
            <a:extLst>
              <a:ext uri="{FF2B5EF4-FFF2-40B4-BE49-F238E27FC236}">
                <a16:creationId xmlns:a16="http://schemas.microsoft.com/office/drawing/2014/main" id="{5C92A713-B033-25D4-DAFE-CB400A2B3785}"/>
              </a:ext>
            </a:extLst>
          </p:cNvPr>
          <p:cNvGraphicFramePr/>
          <p:nvPr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2428850730"/>
              </p:ext>
            </p:extLst>
          </p:nvPr>
        </p:nvGraphicFramePr>
        <p:xfrm>
          <a:off x="168275" y="3556000"/>
          <a:ext cx="8207375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5"/>
          </a:graphicData>
        </a:graphic>
      </p:graphicFrame>
      <p:cxnSp>
        <p:nvCxnSpPr>
          <p:cNvPr id="520" name="直线连接符 519">
            <a:extLst>
              <a:ext uri="{FF2B5EF4-FFF2-40B4-BE49-F238E27FC236}">
                <a16:creationId xmlns:a16="http://schemas.microsoft.com/office/drawing/2014/main" id="{38CAD3DD-57B7-8A4F-1F40-01E0B8C365E6}"/>
              </a:ext>
            </a:extLst>
          </p:cNvPr>
          <p:cNvCxnSpPr>
            <a:cxnSpLocks/>
          </p:cNvCxnSpPr>
          <p:nvPr>
            <p:custDataLst>
              <p:tags r:id="rId68"/>
            </p:custDataLst>
          </p:nvPr>
        </p:nvCxnSpPr>
        <p:spPr bwMode="auto">
          <a:xfrm flipH="1">
            <a:off x="2778125" y="585152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7" name="直线连接符 586">
            <a:extLst>
              <a:ext uri="{FF2B5EF4-FFF2-40B4-BE49-F238E27FC236}">
                <a16:creationId xmlns:a16="http://schemas.microsoft.com/office/drawing/2014/main" id="{98530184-8C74-9FC1-45BC-3463076C1BB4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 bwMode="auto">
          <a:xfrm flipH="1">
            <a:off x="7804150" y="59991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3" name="直线连接符 582">
            <a:extLst>
              <a:ext uri="{FF2B5EF4-FFF2-40B4-BE49-F238E27FC236}">
                <a16:creationId xmlns:a16="http://schemas.microsoft.com/office/drawing/2014/main" id="{A1A974D8-53FE-1655-5AB8-E046A31BB35E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 bwMode="auto">
          <a:xfrm>
            <a:off x="7789863" y="59372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2" name="直线连接符 571">
            <a:extLst>
              <a:ext uri="{FF2B5EF4-FFF2-40B4-BE49-F238E27FC236}">
                <a16:creationId xmlns:a16="http://schemas.microsoft.com/office/drawing/2014/main" id="{E949886B-C657-EC39-826C-47502955CCCB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 flipH="1">
            <a:off x="3783013" y="5910263"/>
            <a:ext cx="3968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6" name="直线连接符 515">
            <a:extLst>
              <a:ext uri="{FF2B5EF4-FFF2-40B4-BE49-F238E27FC236}">
                <a16:creationId xmlns:a16="http://schemas.microsoft.com/office/drawing/2014/main" id="{08328C81-4EE3-58BB-687C-0A81DB076867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>
            <a:off x="700088" y="5964238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直线连接符 525">
            <a:extLst>
              <a:ext uri="{FF2B5EF4-FFF2-40B4-BE49-F238E27FC236}">
                <a16:creationId xmlns:a16="http://schemas.microsoft.com/office/drawing/2014/main" id="{8AD0CAA7-DB6C-335E-BE01-09903BBED07E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 flipH="1">
            <a:off x="6799263" y="585470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4" name="直线连接符 523">
            <a:extLst>
              <a:ext uri="{FF2B5EF4-FFF2-40B4-BE49-F238E27FC236}">
                <a16:creationId xmlns:a16="http://schemas.microsoft.com/office/drawing/2014/main" id="{C18374E6-6386-199E-FBB8-A446B8B490B9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>
            <a:off x="5727700" y="5870575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2" name="直线连接符 521">
            <a:extLst>
              <a:ext uri="{FF2B5EF4-FFF2-40B4-BE49-F238E27FC236}">
                <a16:creationId xmlns:a16="http://schemas.microsoft.com/office/drawing/2014/main" id="{ED2B8A1B-BD8C-DE11-8947-8FBC46C40CC8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4773613" y="625316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1" name="直线连接符 520">
            <a:extLst>
              <a:ext uri="{FF2B5EF4-FFF2-40B4-BE49-F238E27FC236}">
                <a16:creationId xmlns:a16="http://schemas.microsoft.com/office/drawing/2014/main" id="{62BD7BFE-E7FE-5DCF-57AC-CCC3A3B90D02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4773613" y="628967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4" name="Text Placeholder 2">
            <a:extLst>
              <a:ext uri="{FF2B5EF4-FFF2-40B4-BE49-F238E27FC236}">
                <a16:creationId xmlns:a16="http://schemas.microsoft.com/office/drawing/2014/main" id="{02C16B84-245A-7A75-8AF5-4E92B7678A80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5602288" y="54848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ACC137-21C2-4A74-A38D-E7A0B5FBE668}" type="datetime'6''''''''''''''''''''''6''.9''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9%</a:t>
            </a:fld>
            <a:endParaRPr lang="zh-CN" altLang="en-US" sz="1000" b="1" dirty="0"/>
          </a:p>
        </p:txBody>
      </p:sp>
      <p:sp useBgFill="1">
        <p:nvSpPr>
          <p:cNvPr id="506" name="Text Placeholder 2">
            <a:extLst>
              <a:ext uri="{FF2B5EF4-FFF2-40B4-BE49-F238E27FC236}">
                <a16:creationId xmlns:a16="http://schemas.microsoft.com/office/drawing/2014/main" id="{058A3D70-246B-7DA6-BAF2-F3A62459F87C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574675" y="53784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C86048-CD7A-4DAF-9080-65444C0FB79D}" type="datetime'''''''''78''.''''''''''''''6''''''''''''''''''''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6%</a:t>
            </a:fld>
            <a:endParaRPr lang="zh-CN" altLang="en-US" sz="1000" b="1" dirty="0"/>
          </a:p>
        </p:txBody>
      </p:sp>
      <p:sp useBgFill="1">
        <p:nvSpPr>
          <p:cNvPr id="540" name="Text Placeholder 2">
            <a:extLst>
              <a:ext uri="{FF2B5EF4-FFF2-40B4-BE49-F238E27FC236}">
                <a16:creationId xmlns:a16="http://schemas.microsoft.com/office/drawing/2014/main" id="{81C56B49-CA56-D2A7-9DFD-490680D507BD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2817813" y="57832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0FBF73-082B-4794-A2C7-A885C252ADD1}" type="datetime'4''''''''''''''''''''''7''''''''''''''.''''''3''''''''''%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9" name="Text Placeholder 2">
            <a:extLst>
              <a:ext uri="{FF2B5EF4-FFF2-40B4-BE49-F238E27FC236}">
                <a16:creationId xmlns:a16="http://schemas.microsoft.com/office/drawing/2014/main" id="{4562DA38-BC29-8BC1-B845-9F2AD1A70E2E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2586038" y="53959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264D56-0D14-4CA7-9314-6073C5A4DF7E}" type="datetime'''7''''''''''''''''''''6''''''''''''.6''''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6%</a:t>
            </a:fld>
            <a:endParaRPr lang="zh-CN" altLang="en-US" sz="1000" b="1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8A4B5922-56C3-2114-2CFC-6F8098515122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2554288" y="63849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C60709-67AA-4CCC-B43B-D56AAB66184D}" type="datetime'''F''Y''''''''''''2''''''''''''6''''''''''''''Q''4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393" name="Text Placeholder 2">
            <a:extLst>
              <a:ext uri="{FF2B5EF4-FFF2-40B4-BE49-F238E27FC236}">
                <a16:creationId xmlns:a16="http://schemas.microsoft.com/office/drawing/2014/main" id="{8EC7F667-6B48-FDF7-75BD-E2982BF907E3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3559175" y="63849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75FC6-5896-4EB3-B83C-97D139B4F4C6}" type="datetime'''''''F''''''''Y''''''27''''''''''''''''''''''Q1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541" name="Text Placeholder 2">
            <a:extLst>
              <a:ext uri="{FF2B5EF4-FFF2-40B4-BE49-F238E27FC236}">
                <a16:creationId xmlns:a16="http://schemas.microsoft.com/office/drawing/2014/main" id="{A7CF5C18-812F-7362-255A-1F9EF8E832DC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4564063" y="5181600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D76142-4A08-47B4-B6E0-0CFFD3CE9B8B}" type="datetime'''''''''''''''10''''''''''''0''''.''''''''''''0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.0%</a:t>
            </a:fld>
            <a:endParaRPr lang="zh-CN" altLang="en-US" sz="1000" b="1" dirty="0"/>
          </a:p>
        </p:txBody>
      </p:sp>
      <p:sp useBgFill="1">
        <p:nvSpPr>
          <p:cNvPr id="510" name="Text Placeholder 2">
            <a:extLst>
              <a:ext uri="{FF2B5EF4-FFF2-40B4-BE49-F238E27FC236}">
                <a16:creationId xmlns:a16="http://schemas.microsoft.com/office/drawing/2014/main" id="{1C1BEF97-B386-A9CD-8D26-E669B0AB650F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4610100" y="6153150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20E3CE-2E11-40FF-A1EA-687FFF657883}" type="datetime'''''''''''''''''''''-''6''''''''.''3''''''''''''%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.3%</a:t>
            </a:fld>
            <a:endParaRPr lang="zh-CN" altLang="en-US" sz="1000" b="1" dirty="0"/>
          </a:p>
        </p:txBody>
      </p:sp>
      <p:sp useBgFill="1">
        <p:nvSpPr>
          <p:cNvPr id="538" name="Text Placeholder 2">
            <a:extLst>
              <a:ext uri="{FF2B5EF4-FFF2-40B4-BE49-F238E27FC236}">
                <a16:creationId xmlns:a16="http://schemas.microsoft.com/office/drawing/2014/main" id="{DF562204-A251-5AB1-8726-2F294C0D4552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2554288" y="39957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B37616-9DB3-4B90-954C-A07D05559D88}" type="datetime'23''''''''0''''''''''''.''''''''''''''''''''''''0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.0%</a:t>
            </a:fld>
            <a:endParaRPr lang="zh-CN" altLang="en-US" sz="1000" b="1" dirty="0"/>
          </a:p>
        </p:txBody>
      </p:sp>
      <p:sp useBgFill="1">
        <p:nvSpPr>
          <p:cNvPr id="511" name="Text Placeholder 2">
            <a:extLst>
              <a:ext uri="{FF2B5EF4-FFF2-40B4-BE49-F238E27FC236}">
                <a16:creationId xmlns:a16="http://schemas.microsoft.com/office/drawing/2014/main" id="{7D3CA6F6-04E8-B194-D504-61C573E8FDA4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4610100" y="6116638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533371-0D2B-4A2E-9D2A-BF9917E7BCAE}" type="datetime'''''''''''-''''''''''2''''''''.''4''''''''''''''%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4AEA944F-EEBA-2336-F73D-542CB4802B34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1549400" y="63849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5608C-E0BF-4939-A76E-04CF07EE6576}" type="datetime'''FY''''''26''''''''Q3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E1F1290D-7A21-8594-3F21-B59C64AD3F11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4672013" y="63849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391045-09E1-4CF3-8738-B3D4BF9D11B0}" type="datetime'''''''''''''''''''2''''''''''''''''''''''''''''''''''月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03201CA9-87E4-BBC7-216C-705EAFF48145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5570538" y="43608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0A3A7-578E-41AE-9453-61ACAE8A8B30}" type="datetime'''''''''1''''9''0''''''''''.''''0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0.0%</a:t>
            </a:fld>
            <a:endParaRPr lang="zh-CN" altLang="en-US" sz="1000" b="1" dirty="0"/>
          </a:p>
        </p:txBody>
      </p:sp>
      <p:sp>
        <p:nvSpPr>
          <p:cNvPr id="535" name="Text Placeholder 2">
            <a:extLst>
              <a:ext uri="{FF2B5EF4-FFF2-40B4-BE49-F238E27FC236}">
                <a16:creationId xmlns:a16="http://schemas.microsoft.com/office/drawing/2014/main" id="{136B31ED-E900-0BAB-0163-E3506DBAB4F1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581150" y="56673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7FE339-2E1B-4C63-BE47-70D3B35A5174}" type="datetime'''''''''''''46''''''''''''''''''''.''''''''''7''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7%</a:t>
            </a:fld>
            <a:endParaRPr lang="zh-CN" altLang="en-US" sz="1000" b="1" dirty="0"/>
          </a:p>
        </p:txBody>
      </p:sp>
      <p:sp>
        <p:nvSpPr>
          <p:cNvPr id="545" name="Text Placeholder 2">
            <a:extLst>
              <a:ext uri="{FF2B5EF4-FFF2-40B4-BE49-F238E27FC236}">
                <a16:creationId xmlns:a16="http://schemas.microsoft.com/office/drawing/2014/main" id="{DFAE96AE-B947-7D8C-ACCD-9F316EB2F71A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5602288" y="59928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D13BF9-A0C1-4A41-A8D4-8F7623A7C19E}" type="datetime'''3''''''''7''''''.''''''''''''''''''8''''''''%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8%</a:t>
            </a:fld>
            <a:endParaRPr lang="zh-CN" altLang="en-US" sz="1000" b="1" dirty="0"/>
          </a:p>
        </p:txBody>
      </p:sp>
      <p:sp useBgFill="1">
        <p:nvSpPr>
          <p:cNvPr id="512" name="Text Placeholder 2">
            <a:extLst>
              <a:ext uri="{FF2B5EF4-FFF2-40B4-BE49-F238E27FC236}">
                <a16:creationId xmlns:a16="http://schemas.microsoft.com/office/drawing/2014/main" id="{18E422D7-26D5-608E-5B25-6C8D315E32AC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5372100" y="58023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12C445-6C28-4F94-A9E6-AE5BD1A7DBA5}" type="datetime'4''5''.''''''2''''''''%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4" name="Text Placeholder 2">
            <a:extLst>
              <a:ext uri="{FF2B5EF4-FFF2-40B4-BE49-F238E27FC236}">
                <a16:creationId xmlns:a16="http://schemas.microsoft.com/office/drawing/2014/main" id="{4D0A7763-A5C5-235B-562F-0E9499E9E620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1549400" y="344963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F5B970-2CEA-4765-991D-107CCD687CA2}" type="datetime'2''9''0''''''''''.''''0''''''''''''''''''''''''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0.0%</a:t>
            </a:fld>
            <a:endParaRPr lang="zh-CN" altLang="en-US" sz="1000" b="1" dirty="0"/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70727012-64F9-24C7-7E0C-D8E1E73A31C3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5678488" y="63849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C20A8F-7285-451D-B24A-9E9CE088CEC7}" type="datetime'''''''''''''''''''''''''''''''''''''''''''3月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546" name="Text Placeholder 2">
            <a:extLst>
              <a:ext uri="{FF2B5EF4-FFF2-40B4-BE49-F238E27FC236}">
                <a16:creationId xmlns:a16="http://schemas.microsoft.com/office/drawing/2014/main" id="{02EE162E-0353-14FA-4E26-542C8660A09F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6575425" y="42703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42A601-E953-473A-BB79-0A9DAB9E212D}" type="datetime'2''''''00''.''''''0''''''''''%''''''''''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.0%</a:t>
            </a:fld>
            <a:endParaRPr lang="zh-CN" altLang="en-US" sz="1000" b="1" dirty="0"/>
          </a:p>
        </p:txBody>
      </p:sp>
      <p:sp>
        <p:nvSpPr>
          <p:cNvPr id="547" name="Text Placeholder 2">
            <a:extLst>
              <a:ext uri="{FF2B5EF4-FFF2-40B4-BE49-F238E27FC236}">
                <a16:creationId xmlns:a16="http://schemas.microsoft.com/office/drawing/2014/main" id="{42E211DB-3AE4-73B5-C262-787C3CE39EAF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6607175" y="54816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410FBD-CDCF-40DB-822F-76D31D08AD66}" type="datetime'''''''''''''''''''67''''''.''''''2''''''''''%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b="1" dirty="0"/>
          </a:p>
        </p:txBody>
      </p:sp>
      <p:sp>
        <p:nvSpPr>
          <p:cNvPr id="548" name="Text Placeholder 2">
            <a:extLst>
              <a:ext uri="{FF2B5EF4-FFF2-40B4-BE49-F238E27FC236}">
                <a16:creationId xmlns:a16="http://schemas.microsoft.com/office/drawing/2014/main" id="{05F7F32A-6047-2966-D6F0-B26B7BD839A0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6607175" y="59785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0073FF-2933-4A76-B985-BB4DCABCA7C6}" type="datetime'''''''3''''''''''''''''''''9''.''''''''''''3''%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3%</a:t>
            </a:fld>
            <a:endParaRPr lang="zh-CN" altLang="en-US" sz="1000" b="1" dirty="0"/>
          </a:p>
        </p:txBody>
      </p:sp>
      <p:sp useBgFill="1">
        <p:nvSpPr>
          <p:cNvPr id="513" name="Text Placeholder 2">
            <a:extLst>
              <a:ext uri="{FF2B5EF4-FFF2-40B4-BE49-F238E27FC236}">
                <a16:creationId xmlns:a16="http://schemas.microsoft.com/office/drawing/2014/main" id="{CEF23066-15B3-065E-1D3F-F8E2AE5074AA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6838950" y="57864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69FC11-7FE3-4BEB-A9F1-49E058A0A93F}" type="datetime'''''4''''''''7''''.''''''''''''''''''''''''''1%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BD6D5935-04C3-F67F-FA1A-FE2FEA080DC7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542925" y="63849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CD8E9-2A94-43A0-8ECE-277CBF141D79}" type="datetime'''F''''''''''''Y''''''''''''''2''6''Q''''''''2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B3775FBB-911D-0535-AB3A-36C621C7345E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6683375" y="63849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835E39-39EB-4FD3-B717-C6C18DE7793B}" type="datetime'''''4''''''月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F12351BF-E950-153C-99ED-A8BC523591FC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auto">
          <a:xfrm>
            <a:off x="7580313" y="63849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908DFA-9051-4A5D-BC0A-323E5938615A}" type="datetime'''''5''''''''''''月''mt''''''''''''''''''''''''d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560" name="Text Placeholder 2">
            <a:extLst>
              <a:ext uri="{FF2B5EF4-FFF2-40B4-BE49-F238E27FC236}">
                <a16:creationId xmlns:a16="http://schemas.microsoft.com/office/drawing/2014/main" id="{B060C51B-F346-3259-6431-9AFD35AEDBEC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3590925" y="5614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94A5A1-2D33-4B86-97EF-2793AE54992D}" type="datetime'''''''''''''5''''''''2''''''''.''''''''''6''''%'''''''''">
              <a:rPr lang="zh-CN" altLang="en-US" sz="10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63" name="Text Placeholder 2">
            <a:extLst>
              <a:ext uri="{FF2B5EF4-FFF2-40B4-BE49-F238E27FC236}">
                <a16:creationId xmlns:a16="http://schemas.microsoft.com/office/drawing/2014/main" id="{DEF42E98-7039-4C9D-0681-42A7B8DDB55D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3559175" y="4552950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20E655-A6E4-4476-B55E-6D81B70111C7}" type="datetime'''1''''''''''6''9''''''''''''''.''''''''''''''''''0''%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6" name="Text Placeholder 2">
            <a:extLst>
              <a:ext uri="{FF2B5EF4-FFF2-40B4-BE49-F238E27FC236}">
                <a16:creationId xmlns:a16="http://schemas.microsoft.com/office/drawing/2014/main" id="{74EDF818-5875-5F48-6298-FC101B35DDE8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3590925" y="6003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00B7E5-588B-4E13-A330-BD9A8FE57AC1}" type="datetime'''''36''''''''''.5''''''%'''''''''''''''''''''''''''''''''''">
              <a:rPr lang="zh-CN" altLang="en-US" sz="10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70" name="Text Placeholder 2">
            <a:extLst>
              <a:ext uri="{FF2B5EF4-FFF2-40B4-BE49-F238E27FC236}">
                <a16:creationId xmlns:a16="http://schemas.microsoft.com/office/drawing/2014/main" id="{91EBE5E2-E662-13D8-8F6E-84D1A54BF36A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3822700" y="58420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2C3BA0-6F23-44B2-845C-28CCD56F775A}" type="datetime'''''''40''.''''''''''''9''''''''''''''''''''''''''''''''%'''">
              <a:rPr lang="zh-CN" altLang="en-US" sz="1000" b="1" smtClean="0">
                <a:effectLst/>
                <a:ea typeface="等线" panose="02010600030101010101" pitchFamily="2" charset="-122"/>
              </a:rPr>
              <a:pPr/>
              <a:t>40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9E8578DC-BE46-8C4B-4620-C646574B6153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344488" y="58959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9F7D6C4-F870-4149-97D2-EB0C2C0FF28A}" type="datetime'''''''''''''''''3''''''5''''.''''0''''''''%''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74" name="Text Placeholder 2">
            <a:extLst>
              <a:ext uri="{FF2B5EF4-FFF2-40B4-BE49-F238E27FC236}">
                <a16:creationId xmlns:a16="http://schemas.microsoft.com/office/drawing/2014/main" id="{A43EF41A-FFBB-9CD7-F321-9E8EFCF4FDCD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580313" y="489108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DDD496-8E0E-4CB2-8DB1-CC07E18A7457}" type="datetime'1''''''''3''2.''''''''''''0''''''''''''''%'''''''">
              <a:rPr lang="zh-CN" altLang="en-US" sz="10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2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77" name="Text Placeholder 2">
            <a:extLst>
              <a:ext uri="{FF2B5EF4-FFF2-40B4-BE49-F238E27FC236}">
                <a16:creationId xmlns:a16="http://schemas.microsoft.com/office/drawing/2014/main" id="{3C77C4BD-5FCF-B229-43D0-2D0025A2CAA4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612063" y="60896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E34B74-BEAE-4839-963C-B558707CCC7A}" type="datetime'''''''''''''''''''''''''2''7''.''''2''''''''''%'''''''''''''''">
              <a:rPr lang="zh-CN" altLang="en-US" sz="10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0" name="Text Placeholder 2">
            <a:extLst>
              <a:ext uri="{FF2B5EF4-FFF2-40B4-BE49-F238E27FC236}">
                <a16:creationId xmlns:a16="http://schemas.microsoft.com/office/drawing/2014/main" id="{09303170-CA88-754A-9C27-8565A450E464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7612063" y="58007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0BB28A-A52A-42A1-A620-1E35CF18173A}" type="datetime'''''''''''''''3''''''''''''2''''''''''''''''''''.''2''%'">
              <a:rPr lang="zh-CN" altLang="en-US" sz="10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7" name="Text Placeholder 2">
            <a:extLst>
              <a:ext uri="{FF2B5EF4-FFF2-40B4-BE49-F238E27FC236}">
                <a16:creationId xmlns:a16="http://schemas.microsoft.com/office/drawing/2014/main" id="{D8525ED6-E3C2-42DE-2AEC-33223FF93AE1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574675" y="60579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4A4C9-52E1-4F4F-B33E-C7EC903E0EFF}" type="datetime'''''3''''''''''''''''0''''''''''.7''''''''''''''''%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7%</a:t>
            </a:fld>
            <a:endParaRPr lang="zh-CN" altLang="en-US" sz="1000" b="1" dirty="0"/>
          </a:p>
        </p:txBody>
      </p:sp>
      <p:sp>
        <p:nvSpPr>
          <p:cNvPr id="585" name="Text Placeholder 2">
            <a:extLst>
              <a:ext uri="{FF2B5EF4-FFF2-40B4-BE49-F238E27FC236}">
                <a16:creationId xmlns:a16="http://schemas.microsoft.com/office/drawing/2014/main" id="{347CF1E1-96A6-0027-1900-B342D8217CE7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7843838" y="59309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6FEAA4-665E-4A44-88E9-D8C63186FBE7}" type="datetime'''''''''''''''''''''''''3''''''''1''''''''''.1''''%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3" name="Text Placeholder 2">
            <a:extLst>
              <a:ext uri="{FF2B5EF4-FFF2-40B4-BE49-F238E27FC236}">
                <a16:creationId xmlns:a16="http://schemas.microsoft.com/office/drawing/2014/main" id="{7DDA1C0E-8412-0E7C-B090-04DCD141B5D5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574675" y="56578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97C23-2B1B-47A0-8A46-798A674BCB33}" type="datetime'''''''''''''''''''4''''''7''.''''''''9''''''''%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9%</a:t>
            </a:fld>
            <a:endParaRPr lang="zh-CN" altLang="en-US" sz="1000" b="1" dirty="0"/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E2CDECFE-E357-9009-5A2B-E22DD1A19875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2586038" y="5995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9BCBEC-C320-4AD9-92F7-60BBD99E1480}" type="datetime'''''''''3''''''''''7''''.''''''''4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4%</a:t>
            </a:fld>
            <a:endParaRPr lang="zh-CN" altLang="en-US" sz="1000" b="1" dirty="0"/>
          </a:p>
        </p:txBody>
      </p:sp>
      <p:sp>
        <p:nvSpPr>
          <p:cNvPr id="455" name="矩形 454">
            <a:extLst>
              <a:ext uri="{FF2B5EF4-FFF2-40B4-BE49-F238E27FC236}">
                <a16:creationId xmlns:a16="http://schemas.microsoft.com/office/drawing/2014/main" id="{E06BC842-70A9-931A-F468-8616FD583735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3059113" y="302736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6" name="矩形 455">
            <a:extLst>
              <a:ext uri="{FF2B5EF4-FFF2-40B4-BE49-F238E27FC236}">
                <a16:creationId xmlns:a16="http://schemas.microsoft.com/office/drawing/2014/main" id="{EE84531E-F718-7B66-4C3C-0E09461C172F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3817938" y="3027363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7" name="矩形 456">
            <a:extLst>
              <a:ext uri="{FF2B5EF4-FFF2-40B4-BE49-F238E27FC236}">
                <a16:creationId xmlns:a16="http://schemas.microsoft.com/office/drawing/2014/main" id="{3B506B67-29FC-4EDA-3CE5-38A84CAD81D5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4576763" y="3027363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1" name="Text Placeholder 2">
            <a:extLst>
              <a:ext uri="{FF2B5EF4-FFF2-40B4-BE49-F238E27FC236}">
                <a16:creationId xmlns:a16="http://schemas.microsoft.com/office/drawing/2014/main" id="{CA8B2A8E-EA65-CFF9-4C40-2C9DD02EAAE3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3360738" y="30384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53EE9C-7BAA-45EA-87E5-33FC641579F1}" type="datetime'''''''''''电''''''''''''''''''''''''销'''''">
              <a:rPr kumimoji="1" lang="zh-CN" altLang="en-US" sz="1400" smtClean="0">
                <a:effectLst/>
              </a:rPr>
              <a:pPr/>
              <a:t>电销</a:t>
            </a:fld>
            <a:endParaRPr kumimoji="1" lang="zh-CN" altLang="en-US" sz="1400" dirty="0"/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E12D2937-CDEA-3451-A4EE-0A52F4F7DB91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4119563" y="30384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E69D55-472F-435F-90C6-E9075762FF68}" type="datetime'''渠''''''''''''''''''''''''道'''''''''''''''">
              <a:rPr kumimoji="1" lang="zh-CN" altLang="en-US" sz="1400" smtClean="0">
                <a:effectLst/>
              </a:rPr>
              <a:pPr/>
              <a:t>渠道</a:t>
            </a:fld>
            <a:endParaRPr kumimoji="1" lang="zh-CN" altLang="en-US" sz="1400" dirty="0"/>
          </a:p>
        </p:txBody>
      </p:sp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0838AEC9-AF7E-D9CC-2B42-93D58EE8CA89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4878388" y="30384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FDA442-6A71-4D5E-83F7-175580FC68AC}" type="datetime'''''''''''''''直''''''''''''''''''''''营'''''''''''''''''''''''">
              <a:rPr kumimoji="1" lang="zh-CN" altLang="en-US" sz="1400" smtClean="0">
                <a:effectLst/>
              </a:rPr>
              <a:pPr/>
              <a:t>直营</a:t>
            </a:fld>
            <a:endParaRPr kumimoji="1" lang="zh-CN" altLang="en-US" sz="1400" dirty="0"/>
          </a:p>
        </p:txBody>
      </p:sp>
      <p:cxnSp>
        <p:nvCxnSpPr>
          <p:cNvPr id="501" name="直线连接符 500">
            <a:extLst>
              <a:ext uri="{FF2B5EF4-FFF2-40B4-BE49-F238E27FC236}">
                <a16:creationId xmlns:a16="http://schemas.microsoft.com/office/drawing/2014/main" id="{27D81AA3-A7EC-563F-062B-BB9233D5AC62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260350" y="6729413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2" name="直线连接符 501">
            <a:extLst>
              <a:ext uri="{FF2B5EF4-FFF2-40B4-BE49-F238E27FC236}">
                <a16:creationId xmlns:a16="http://schemas.microsoft.com/office/drawing/2014/main" id="{EBCC1E5E-C6FA-D38E-BB8E-E55E7DEA4A21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1028700" y="6729413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直线连接符 502">
            <a:extLst>
              <a:ext uri="{FF2B5EF4-FFF2-40B4-BE49-F238E27FC236}">
                <a16:creationId xmlns:a16="http://schemas.microsoft.com/office/drawing/2014/main" id="{BD1BA839-6EAC-BB49-5D65-F0F2B6804B02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1797050" y="6729413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4" name="直线连接符 503">
            <a:extLst>
              <a:ext uri="{FF2B5EF4-FFF2-40B4-BE49-F238E27FC236}">
                <a16:creationId xmlns:a16="http://schemas.microsoft.com/office/drawing/2014/main" id="{A9719437-742F-1C1F-E7D6-2E6820D5E869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2565400" y="6729413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960BEAC2-27A6-48D4-41E1-D06CF75A79AB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663575" y="66706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829E80-30C8-4500-BDE3-048A7592280A}" type="datetime'''''''''''''''''''''''''''''''''''''电''销''''''''''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AE6EE5C2-F908-AA24-D2C1-C7FA1C1DE56D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431925" y="66706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3D5F91-6CC1-4888-92EA-CD3C4DF06585}" type="datetime'''渠''道''''''''''''''''''''''''''''''''''''''''''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F8EF3E48-9529-B304-16CA-C41D6786FA01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2200275" y="66706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8EF009-1992-4F48-B660-B0C185DFCD18}" type="datetime'''''''''''''''''''''''''''''''''''''直营''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CEECC1B3-B1DB-3594-6070-1FC36429E2A4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2968625" y="6670675"/>
            <a:ext cx="125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0DA9CC-4126-4355-859E-B87CA85054A6}" type="datetime'''''''''''''''''''''''''''a''''''''''l''''''''''''''l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lang="zh-CN" altLang="en-US" sz="1000" b="1" dirty="0"/>
          </a:p>
        </p:txBody>
      </p:sp>
      <p:sp>
        <p:nvSpPr>
          <p:cNvPr id="598" name="文本框 597">
            <a:extLst>
              <a:ext uri="{FF2B5EF4-FFF2-40B4-BE49-F238E27FC236}">
                <a16:creationId xmlns:a16="http://schemas.microsoft.com/office/drawing/2014/main" id="{6AAF11BD-7878-488B-3C15-712F2DEF44B4}"/>
              </a:ext>
            </a:extLst>
          </p:cNvPr>
          <p:cNvSpPr txBox="1"/>
          <p:nvPr/>
        </p:nvSpPr>
        <p:spPr>
          <a:xfrm>
            <a:off x="4013704" y="328084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</p:spTree>
    <p:extLst>
      <p:ext uri="{BB962C8B-B14F-4D97-AF65-F5344CB8AC3E}">
        <p14:creationId xmlns:p14="http://schemas.microsoft.com/office/powerpoint/2010/main" val="19485358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think-cell data - do not delete" hidden="1">
            <a:extLst>
              <a:ext uri="{FF2B5EF4-FFF2-40B4-BE49-F238E27FC236}">
                <a16:creationId xmlns:a16="http://schemas.microsoft.com/office/drawing/2014/main" id="{1B9F1333-15AC-8506-DB21-754287F8DDA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0634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3" imgW="7772400" imgH="10058400" progId="TCLayout.ActiveDocument.1">
                  <p:embed/>
                </p:oleObj>
              </mc:Choice>
              <mc:Fallback>
                <p:oleObj name="think-cell 幻灯片" r:id="rId12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7" name="Chart 3">
            <a:extLst>
              <a:ext uri="{FF2B5EF4-FFF2-40B4-BE49-F238E27FC236}">
                <a16:creationId xmlns:a16="http://schemas.microsoft.com/office/drawing/2014/main" id="{A3032AF9-660E-56BF-8B9F-730C1EBC7DC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588903"/>
              </p:ext>
            </p:extLst>
          </p:nvPr>
        </p:nvGraphicFramePr>
        <p:xfrm>
          <a:off x="239713" y="623888"/>
          <a:ext cx="2362200" cy="2143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01255C0-9100-7873-3BEB-83444DB22B5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52425" y="9144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6D2408-4543-4B6D-9D2F-F288E4DA480F}" type="datetime'''''''''''''''''''''''''5''''.''''2''''''''''''''%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5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8E7E335-C754-3262-D0BC-8BB2BCCAAB6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6713" y="12382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BB2392-11F5-48A8-A8F8-266B1686B739}" type="datetime'''''''''''''''''4''''''''''''''''2''''''''.''6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6%</a:t>
            </a:fld>
            <a:endParaRPr lang="zh-CN" altLang="en-US" sz="10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AE6DFA5-4DBE-3CF4-01E7-A02F13A2B7B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66713" y="21256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847417-ECAF-4342-886C-01DE8C15E68A}" type="datetime'''''''''''''''''''''''5''''2.''''''''''''''''3''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3%</a:t>
            </a:fld>
            <a:endParaRPr lang="zh-CN" altLang="en-US" sz="1000" dirty="0"/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D1FC4755-D11A-2074-898E-190095EF7E2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73025" y="27352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1DE3C6-BD71-4F8A-A6FE-F2E498B5ABA5}" type="datetime'''''F''''''''''''Y''''''''2''''''''''''''6''''Q''''''2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C540179-BB85-5A82-CEC5-DBDC9385AB8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01700" y="11049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9772AE-4997-4C0D-B757-BF97056C2FF2}" type="datetime'''''''''''''''6''''''.''''''''''''3''''''''''''''%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2C8DF5F-2455-78B7-2FB2-8AA5FCE2A19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877888" y="1428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8AD345-11E3-4943-854C-1C9239B3D046}" type="datetime'''4''''''''3''''''''''.''''''''''''''6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6%</a:t>
            </a:fld>
            <a:endParaRPr lang="zh-CN" altLang="en-US" sz="10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32D2C06-A121-264A-2263-222C97179DD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877888" y="22018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46A5F7-050A-4F70-817C-5084AC3B3B91}" type="datetime'''''5''0''''''''''.''''''''''''''''''''''''''''''1''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1%</a:t>
            </a:fld>
            <a:endParaRPr lang="zh-CN" altLang="en-US" sz="1000" dirty="0"/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EA950728-BE68-A51E-F526-BFA4FE50895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804863" y="27352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9A71CB-2DAE-43D1-B4DE-7048FC3F0736}" type="datetime'F''''Y''2''''''6''''''''''''''''''''''''Q3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7ED2E52-04A1-F64E-4A80-CB3F2871FE4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635125" y="8096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039A47-0B26-40EA-8CAA-1B988ECC6C17}" type="datetime'''''''''''''5''''''''''''''.''3''%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5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B296B84-5983-D486-A599-F3AB5FE9C37C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611313" y="11985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036AF1-EA81-410C-8C5A-9C43565997B5}" type="datetime'''''''''''''4''''''''6.''''0''''%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BFED368-3CA7-EE37-EE52-EBCD88AE53E9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611313" y="21351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5DC79D-C9A1-4A1A-9845-90770BE0F9F2}" type="datetime'''4''''''''''''''''8''''''.''''''''''''7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7%</a:t>
            </a:fld>
            <a:endParaRPr lang="zh-CN" altLang="en-US" sz="1000" dirty="0"/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43C1E269-3E70-6D43-1F44-537814AAE2B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538288" y="27352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C3D320-611B-4885-913E-77F128027830}" type="datetime'''''F''''''Y''2''6Q''''''''''''''''''''''''''''''4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0FFC7F2-C157-924D-A45B-0E61F05582AC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87575" y="15446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7327B-50CF-4E5A-B6A4-3637127C2489}" type="datetime'''''6''''''''''''''''.''''3''%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B93AB52-D87F-7C08-CEF4-1AFEAA5BBECE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122488" y="180022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17B039-FCF4-4EC7-B3FB-344568830067}" type="datetime'''''''4''0''''.''''0%''''''''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%</a:t>
            </a:fld>
            <a:endParaRPr lang="zh-CN" altLang="en-US" sz="10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FF063B1-7960-3E03-BBAB-31057EE73AAF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122488" y="2319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549EF3-DB33-4DA7-9E1D-585C1F0B08F1}" type="datetime'''''5''3.''''''''''''''''''''''''''''''''''''''''''7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7%</a:t>
            </a:fld>
            <a:endParaRPr lang="zh-CN" altLang="en-US" sz="1000" dirty="0"/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DFAF27C9-C494-17E2-7BF9-718304296AFF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203450" y="27352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3CD684-6FE3-4DC5-B1D9-5FE8028DDCAF}" type="datetime'''F''''''''Y''''''''''2''''''''''7''Q''''''''''''''1''''td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5EF3740-EAA5-403A-019C-A0FD1395633D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53988" y="54768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894706-2AD6-40B2-9103-891252FDC10B}" type="datetime'7''''''''''''0''''''''''''''''''''''''''''''''''4''''''5'''''">
              <a:rPr kumimoji="1" lang="zh-CN" altLang="en-US" sz="1400" smtClean="0"/>
              <a:pPr/>
              <a:t>7045</a:t>
            </a:fld>
            <a:endParaRPr kumimoji="1" lang="zh-CN" altLang="en-US" sz="1400" dirty="0"/>
          </a:p>
        </p:txBody>
      </p:sp>
      <p:sp useBgFill="1">
        <p:nvSpPr>
          <p:cNvPr id="22" name="Text Placeholder 2">
            <a:extLst>
              <a:ext uri="{FF2B5EF4-FFF2-40B4-BE49-F238E27FC236}">
                <a16:creationId xmlns:a16="http://schemas.microsoft.com/office/drawing/2014/main" id="{D77BAB71-D5BF-09F9-8012-FA30E6864FFD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847725" y="8175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C9FCF1-294A-45F1-9425-0E3D22A3DD19}" type="datetime'''6''''''''''''''''''''''''''''2''1''''''''''''''''''''2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12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495FF4E-4CD6-04D0-7C60-D63167274E2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538288" y="4318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EC61B3-FD0E-4E50-BA03-B714F0CF5E80}" type="datetime'7''''4''''''3''''''''''''''''''''''''''''3'''''''''''''''''">
              <a:rPr kumimoji="1" lang="zh-CN" altLang="en-US" sz="1400" smtClean="0"/>
              <a:pPr/>
              <a:t>7433</a:t>
            </a:fld>
            <a:endParaRPr kumimoji="1" lang="zh-CN" altLang="en-US" sz="1400" dirty="0"/>
          </a:p>
        </p:txBody>
      </p:sp>
      <p:sp useBgFill="1">
        <p:nvSpPr>
          <p:cNvPr id="26" name="Text Placeholder 2">
            <a:extLst>
              <a:ext uri="{FF2B5EF4-FFF2-40B4-BE49-F238E27FC236}">
                <a16:creationId xmlns:a16="http://schemas.microsoft.com/office/drawing/2014/main" id="{5A0C654B-28EB-C313-CC42-D25F9E4609EE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312988" y="13636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28B258-A12C-4C97-93CD-686D08C51B10}" type="datetime'4''''''''''''''''''''''''1''''''''5''7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57</a:t>
            </a:fld>
            <a:endParaRPr kumimoji="1" lang="zh-CN" altLang="en-US" sz="1400" dirty="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C52BC54F-4464-E191-952C-EE0FA0C2877B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989263" y="304006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8E7F66FD-2D07-1223-B582-6969BE41CF01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3748088" y="3040063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914550A8-8F39-2C86-2328-24AB673DAF76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506913" y="3040063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1AF4BBF-32C5-8DC0-18AC-4C6412FF1A7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3290888" y="30511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480D39-C58B-4D49-8F39-A236747D4CB4}" type="datetime'''''''电''''''''''''''''''销'''''''''''''''''''">
              <a:rPr kumimoji="1" lang="zh-CN" altLang="en-US" sz="1400" smtClean="0"/>
              <a:pPr/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DB43443-812A-153B-3914-846A5C62C4E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4049713" y="30511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124AA8-839F-4508-A0EF-137CE98C4AE8}" type="datetime'''''''''''''''''''''''''''''''渠''''''''''''道'''''''''">
              <a:rPr kumimoji="1" lang="zh-CN" altLang="en-US" sz="1400" smtClean="0"/>
              <a:pPr/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97B1D2E-ADE3-5E71-8CE6-995C7A164C0E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4808538" y="30511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E64D62-E21E-43D9-829E-A32FE588E17F}" type="datetime'''''''''''''直''''''''''''''''''''''''''''''''''''营'''">
              <a:rPr kumimoji="1" lang="zh-CN" altLang="en-US" sz="1400" smtClean="0"/>
              <a:pPr/>
              <a:t>直营</a:t>
            </a:fld>
            <a:endParaRPr kumimoji="1" lang="zh-CN" altLang="en-US" sz="1400" dirty="0"/>
          </a:p>
        </p:txBody>
      </p:sp>
      <p:graphicFrame>
        <p:nvGraphicFramePr>
          <p:cNvPr id="249" name="Chart 3">
            <a:extLst>
              <a:ext uri="{FF2B5EF4-FFF2-40B4-BE49-F238E27FC236}">
                <a16:creationId xmlns:a16="http://schemas.microsoft.com/office/drawing/2014/main" id="{F5C3BAE5-2F9D-1A72-33D5-7692F4BF35D9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14956108"/>
              </p:ext>
            </p:extLst>
          </p:nvPr>
        </p:nvGraphicFramePr>
        <p:xfrm>
          <a:off x="2962275" y="563563"/>
          <a:ext cx="2870200" cy="2224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714035B-384F-FDCF-845F-7E978B040276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089275" y="19272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CFBDB7-8B52-4452-B4BD-0C28683CF1A1}" type="datetime'''''''''''''''''''''6''.0''''''''''''''''''''''''''''%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A4D40D2-0A2F-7BC9-5D37-89925D3FCFE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3089275" y="210978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EB3D7C-9C07-4AC1-9B17-C27ACA108AE1}" type="datetime'''''4''''4''''''''''''''''''.''2''''''''%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2%</a:t>
            </a:fld>
            <a:endParaRPr lang="zh-CN" altLang="en-US" sz="10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98BAD2F-91C5-A9BD-29EB-DE7DDFB0B642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3089275" y="24542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91E6C1-422E-4DB0-828B-521F0C4AFB86}" type="datetime'''4''''''''''''''''''''''9''''.8''''''''''''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.8%</a:t>
            </a:fld>
            <a:endParaRPr lang="zh-CN" altLang="en-US" sz="1000" dirty="0"/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0DDCCE1E-CBC5-3808-73FA-A1306C60D916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2924175" y="27559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4BE7DE-EB76-491C-B538-07B5C1F16838}" type="datetime'''''''''''''''''''''''''''2''''''''''''''月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4D691D4-AE4E-78EC-686A-3719461F5E13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3829050" y="8175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FF0B6D-02D4-45E9-BFC1-848237FAEAF9}" type="datetime'''''5''.''''''''''''''''3''''''''''''%''''''''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5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BF2C2600-D7C1-C54E-E80E-7013ED686B17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3787775" y="13208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4BF9512-E36B-4A39-A2A1-C108792C8F70}" type="datetime'''''''''''46''.''''''''''0''%'''''''''''''''''''''''''">
              <a:rPr lang="zh-CN" altLang="en-US" sz="1000" smtClean="0"/>
              <a:pPr/>
              <a:t>46.0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7AF60C1-806E-322E-7456-DA1D5EFE7569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3770313" y="21351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5F0370-FA8B-4508-9191-3D2C27CA06C5}" type="datetime'48''''''''''''''''''.''''''7''''''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7%</a:t>
            </a:fld>
            <a:endParaRPr lang="zh-CN" altLang="en-US" sz="1000" dirty="0"/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6A6009A5-005C-C6B4-D43E-6F0BCCF71F97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3825875" y="27559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58FB7E-7AB9-43DE-BD38-9CE67FD22CB6}" type="datetime'''''''''''''''''''''''''''''''''''''''''''3月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025CF2D-A07A-463B-62F6-04324A4AF7B6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684713" y="12414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AB92FE-077E-4877-8764-ED6CF769B5D5}" type="datetime'''6''.''''''''''0''''''''''''''''%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74070C5-8C00-7F16-268D-35A039C4F6F9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673600" y="15795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E6F620-83EC-47C6-8E6B-6AFDC974AD67}" type="datetime'''''3''''''''''9''.''''''''''''''''''9''''%'">
              <a:rPr lang="zh-CN" altLang="en-US" sz="1000" smtClean="0"/>
              <a:pPr/>
              <a:t>39.9%</a:t>
            </a:fld>
            <a:endParaRPr lang="zh-CN" altLang="en-US" sz="10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284B8D1-CB67-8BE4-5178-7AA9E55AA6D3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4672013" y="22082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D9C8B6-88E3-4540-817D-FD3CEC15CEF0}" type="datetime'''''''''5''''4''''.''''''''''''''''''''1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1%</a:t>
            </a:fld>
            <a:endParaRPr lang="zh-CN" altLang="en-US" sz="1000" dirty="0"/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5A7DD571-349B-C249-1DF3-007C68A501C4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4727575" y="27559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B1F328-6A32-4F55-B996-001311C24D69}" type="datetime'''''''''''''''''''''''''''''''''''''''''''''''''''''4''''月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D589753E-ADDC-281F-D509-E4C8A19F6745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418138" y="19081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AF4AB-A81A-4C99-A08C-83FCFEDF219B}" type="datetime'''6''''''''.''''''''''''''''''''8''''''''''''%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4EBFF26-5FB3-B1C0-AAC3-580BBD766C30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353050" y="208438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48397A-8B9C-4865-8637-E0B4CCCF105A}" type="datetime'''''''4''0''''''''''''''''''''''''''''''''''''.''''3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3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F7D5D3A-243C-D2CD-06BC-447D64149385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353050" y="24368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0D3A50-3280-433A-A92B-61D9234000FF}" type="datetime'''5''''''''''''''2''''''''''''''''''''''''''''''.''9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9%</a:t>
            </a:fld>
            <a:endParaRPr lang="zh-CN" altLang="en-US" sz="1000" dirty="0"/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A3520197-29F1-5863-143D-49C94C34B198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5500688" y="2755900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F4F2B9-D445-401E-96F4-CE0FE2978E95}" type="datetime'''''''''''''''''''''5''''月''''''''m''''''''''''''td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54" name="Text Placeholder 2">
            <a:extLst>
              <a:ext uri="{FF2B5EF4-FFF2-40B4-BE49-F238E27FC236}">
                <a16:creationId xmlns:a16="http://schemas.microsoft.com/office/drawing/2014/main" id="{AD6A7AD9-4B88-CAD7-23EF-C788F91400C0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2838450" y="17589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8CE156-FF9C-4F5D-A756-5EAB2E820108}" type="datetime'''1''''''''''''3''''''''''''''''''''''0''''''''''''2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02</a:t>
            </a:fld>
            <a:endParaRPr kumimoji="1" lang="zh-CN" altLang="en-US" sz="14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5ED79A22-147E-90D3-89ED-972F1DC41F98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740150" y="4318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8D6BFF-6920-4E04-AB02-EFD187020367}" type="datetime'''''3''''''''''''''''666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6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56" name="Text Placeholder 2">
            <a:extLst>
              <a:ext uri="{FF2B5EF4-FFF2-40B4-BE49-F238E27FC236}">
                <a16:creationId xmlns:a16="http://schemas.microsoft.com/office/drawing/2014/main" id="{6ABB03B4-FA2A-73DA-775A-56263283BBA5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4641850" y="9096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B56916-F0DF-45C2-9EB5-BC97489FA3E3}" type="datetime'''''''''''''''''2''''''''''''''''8''''''1''''''''4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14</a:t>
            </a:fld>
            <a:endParaRPr kumimoji="1" lang="zh-CN" altLang="en-US" sz="1400" dirty="0"/>
          </a:p>
        </p:txBody>
      </p:sp>
      <p:sp useBgFill="1">
        <p:nvSpPr>
          <p:cNvPr id="57" name="Text Placeholder 2">
            <a:extLst>
              <a:ext uri="{FF2B5EF4-FFF2-40B4-BE49-F238E27FC236}">
                <a16:creationId xmlns:a16="http://schemas.microsoft.com/office/drawing/2014/main" id="{70B3B445-3D89-FC07-4228-421BE72F4AC8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5543550" y="17367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79BEEC-3065-48A0-81E1-122D14D0919B}" type="datetime'''''''''''''''''1''3''''''4''''''''''3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43</a:t>
            </a:fld>
            <a:endParaRPr kumimoji="1" lang="zh-CN" altLang="en-US" sz="1400" dirty="0"/>
          </a:p>
        </p:txBody>
      </p:sp>
      <p:graphicFrame>
        <p:nvGraphicFramePr>
          <p:cNvPr id="246" name="Chart 3">
            <a:extLst>
              <a:ext uri="{FF2B5EF4-FFF2-40B4-BE49-F238E27FC236}">
                <a16:creationId xmlns:a16="http://schemas.microsoft.com/office/drawing/2014/main" id="{8EDFBB95-F910-E514-112C-3EE715EA3D0B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755910606"/>
              </p:ext>
            </p:extLst>
          </p:nvPr>
        </p:nvGraphicFramePr>
        <p:xfrm>
          <a:off x="6076950" y="584200"/>
          <a:ext cx="2986088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E7BED46C-A033-9943-33ED-34299BA34FF8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6203950" y="6572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0F62AD-339A-44D0-B813-BF7976113337}" type="datetime'''''''5''''''''.''''''''''''''''''''''9''''''''''%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0DFC068B-46E7-7102-435E-509A97C8CE8E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6203950" y="1103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356C9C-AC5F-4B78-8564-2C28E14B83B8}" type="datetime'''''3''''7''''''''''''.''''''''''''''''''''''''''''''''''8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8%</a:t>
            </a:fld>
            <a:endParaRPr lang="zh-CN" altLang="en-US" sz="1000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E1ECD9C5-7EA9-FAE2-5C74-AE2F77675CDE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6203950" y="20621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16EF78-22CF-4C42-AF52-3A445D0825DC}" type="datetime'''''''''''''''''5''''''6.''''3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.3%</a:t>
            </a:fld>
            <a:endParaRPr lang="zh-CN" altLang="en-US" sz="1000" dirty="0"/>
          </a:p>
        </p:txBody>
      </p:sp>
      <p:sp>
        <p:nvSpPr>
          <p:cNvPr id="62" name="文本占位符 2">
            <a:extLst>
              <a:ext uri="{FF2B5EF4-FFF2-40B4-BE49-F238E27FC236}">
                <a16:creationId xmlns:a16="http://schemas.microsoft.com/office/drawing/2014/main" id="{20128D3E-707E-B0B5-E331-E0F7F73EE1DA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6045200" y="27559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4F40CE-A0C3-497D-A1CA-CD74F908A039}" type="datetime'''''''''''''''''''''''''''W''''''''''''''''4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0866A90-52A4-F5AE-28E9-ED7B6A7B7AD2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6959600" y="8683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F8DB4F-8FB5-4D24-BDF4-D7C406BDAB70}" type="datetime'''5.''''''''''''''''''''''''''''''''''9''''''%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5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FBF1CC87-D108-B917-011F-8AABFC04D33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940550" y="14160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D7E7F5-FB1A-4A4B-AB95-42C3E4DE6D75}" type="datetime'''4''6''''''''''.''''''7''''''''%'''''''''''''''''''''''''''''">
              <a:rPr lang="zh-CN" altLang="en-US" sz="1000" smtClean="0"/>
              <a:pPr/>
              <a:t>46.7%</a:t>
            </a:fld>
            <a:endParaRPr lang="zh-CN" altLang="en-US" sz="1000" dirty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39D0E115-925F-2C45-A492-85E10AB4AB74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6923088" y="21732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6C220F-B6B1-4776-B35D-7B4A6323D873}" type="datetime'''''''4''''''''''''''''7''''''''.4''''''''''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4%</a:t>
            </a:fld>
            <a:endParaRPr lang="zh-CN" altLang="en-US" sz="1000" dirty="0"/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BEFEA17F-F561-A8D1-6507-64353548DED6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6985000" y="27559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FBF2DF-B9E7-4344-B5BB-0F7C7E7352CB}" type="datetime'''''W''''''''''3''''''''''''''''''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D8708117-131A-9388-1D86-345A61D32F4C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7897813" y="11953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6C0B59-002D-456E-8AEC-F460DCB5A154}" type="datetime'''''''6''''''''.''''''''5''''''%'">
              <a:rPr lang="zh-CN" altLang="en-US" sz="1000" smtClean="0">
                <a:solidFill>
                  <a:schemeClr val="bg1"/>
                </a:solidFill>
                <a:effectLst/>
              </a:rPr>
              <a:pPr/>
              <a:t>6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98B3FED9-9C6A-1DCD-13CF-C027E285D160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866063" y="15541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84F951-F3EA-4B83-A1B0-4DCD470D98D9}" type="datetime'4''''''1''''''''''''''''''''.6''''''''''''''''''''''''''''''%'">
              <a:rPr lang="zh-CN" altLang="en-US" sz="1000" smtClean="0"/>
              <a:pPr/>
              <a:t>41.6%</a:t>
            </a:fld>
            <a:endParaRPr lang="zh-CN" altLang="en-US" sz="1000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52894265-C13F-A54B-505C-241BCF9B8E75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864475" y="22098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9AB83E-F6EC-4F59-A842-273C3536A1A2}" type="datetime'''''''''''''''5''''1''''''''''''.''''9''''''''''''''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.9%</a:t>
            </a:fld>
            <a:endParaRPr lang="zh-CN" altLang="en-US" sz="1000" dirty="0"/>
          </a:p>
        </p:txBody>
      </p:sp>
      <p:sp>
        <p:nvSpPr>
          <p:cNvPr id="70" name="文本占位符 2">
            <a:extLst>
              <a:ext uri="{FF2B5EF4-FFF2-40B4-BE49-F238E27FC236}">
                <a16:creationId xmlns:a16="http://schemas.microsoft.com/office/drawing/2014/main" id="{6B0002EA-AE61-52BC-4DD3-D81F7979EE74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7926388" y="27559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915FF8-93E0-4161-9D72-0AD570010AC7}" type="datetime'''''''''''''''''''W''''2''''''''''''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F20F1D8-938F-219B-8D2B-11BA19C7B486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8648700" y="9271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62D32A-DFE3-4D34-8BC9-C9FA0831DFB4}" type="datetime'''''''7''''''''''''.0''''%''''''''''''''''''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0DE6DA1D-E991-C904-3C8B-941E85B33CE2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583613" y="13430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E65158-E609-4698-9342-891E29A8F0B6}" type="datetime'39.''''''''''''''''''''''''''''''''9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9%</a:t>
            </a:fld>
            <a:endParaRPr lang="zh-CN" altLang="en-US" sz="10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B3DEBE4A-B509-6E78-15A6-21F910274BDE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583613" y="21669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0A6B5F-891B-45BE-AB22-454E1C8A790E}" type="datetime'''5''3''.''''''''''''''''1''''''''''''''''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1%</a:t>
            </a:fld>
            <a:endParaRPr lang="zh-CN" altLang="en-US" sz="1000" dirty="0"/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24918762-8EF0-B3D8-C1D6-F41FE59E6EE0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8866188" y="27559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3F3F81-7D75-45FF-A2AC-D2A45D64BB45}" type="datetime'''''''''''W''''''''''''''''''''1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3D1E28A4-395D-46CB-080C-3C87A7BF25C6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5999163" y="452438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E22916-B700-42FC-8B67-FECA4A4BAD0F}" type="datetime'''''''6''''''''''''''''''''''92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2</a:t>
            </a:fld>
            <a:endParaRPr kumimoji="1" lang="zh-CN" altLang="en-US" sz="1400" dirty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E26B8D06-4375-37D4-2D45-1883CAF14F92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6938963" y="5397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B3B69D-6388-4B5E-B587-01337D533F89}" type="datetime'''''''''6''''6''''''''''''''''2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2</a:t>
            </a:fld>
            <a:endParaRPr kumimoji="1" lang="zh-CN" altLang="en-US" sz="1400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7C4A60E-0D44-1789-586F-76B10E02486B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7880350" y="8477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FAF6D8-51C0-4F4C-9F00-7E0E58939771}" type="datetime'''''5''''''''''5''''7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7</a:t>
            </a:fld>
            <a:endParaRPr kumimoji="1" lang="zh-CN" altLang="en-US" sz="1400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3B52B202-A970-EEE3-BB18-2330DF86DE62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8755063" y="5969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5ABBAC-7506-4FE9-A9AA-6F30FCD88D50}" type="datetime'''''''''''''''''''6''''''0''''''''''''''''''''''1'''''">
              <a:rPr kumimoji="1" lang="zh-CN" altLang="en-US" sz="1400" smtClean="0"/>
              <a:pPr/>
              <a:t>601</a:t>
            </a:fld>
            <a:endParaRPr kumimoji="1" lang="zh-CN" altLang="en-US" sz="1400" dirty="0"/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5685A449-5AAC-8F51-369D-B3E7C7AFC02F}"/>
              </a:ext>
            </a:extLst>
          </p:cNvPr>
          <p:cNvSpPr txBox="1"/>
          <p:nvPr/>
        </p:nvSpPr>
        <p:spPr>
          <a:xfrm>
            <a:off x="4165600" y="61913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  <p:graphicFrame>
        <p:nvGraphicFramePr>
          <p:cNvPr id="252" name="Chart 3">
            <a:extLst>
              <a:ext uri="{FF2B5EF4-FFF2-40B4-BE49-F238E27FC236}">
                <a16:creationId xmlns:a16="http://schemas.microsoft.com/office/drawing/2014/main" id="{94F026AE-F366-E9C1-B98E-4FD8221335D4}"/>
              </a:ext>
            </a:extLst>
          </p:cNvPr>
          <p:cNvGraphicFramePr/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4232241053"/>
              </p:ext>
            </p:extLst>
          </p:nvPr>
        </p:nvGraphicFramePr>
        <p:xfrm>
          <a:off x="168275" y="3570288"/>
          <a:ext cx="8207375" cy="2778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cxnSp>
        <p:nvCxnSpPr>
          <p:cNvPr id="156" name="直线连接符 155">
            <a:extLst>
              <a:ext uri="{FF2B5EF4-FFF2-40B4-BE49-F238E27FC236}">
                <a16:creationId xmlns:a16="http://schemas.microsoft.com/office/drawing/2014/main" id="{ED50ECBE-F4B0-93A9-1E03-A1E021B9045B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1758950" y="44799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" name="直线连接符 194">
            <a:extLst>
              <a:ext uri="{FF2B5EF4-FFF2-40B4-BE49-F238E27FC236}">
                <a16:creationId xmlns:a16="http://schemas.microsoft.com/office/drawing/2014/main" id="{8A9B95C2-D5C8-5231-63B8-731A99B574A7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 flipH="1">
            <a:off x="7804150" y="496252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A158518A-807C-27DC-0E75-9A25CB8DDB84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4773613" y="621347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直线连接符 98">
            <a:extLst>
              <a:ext uri="{FF2B5EF4-FFF2-40B4-BE49-F238E27FC236}">
                <a16:creationId xmlns:a16="http://schemas.microsoft.com/office/drawing/2014/main" id="{61386161-7567-EE2B-139F-9DDE6533E158}"/>
              </a:ext>
            </a:extLst>
          </p:cNvPr>
          <p:cNvCxnSpPr>
            <a:cxnSpLocks/>
          </p:cNvCxnSpPr>
          <p:nvPr>
            <p:custDataLst>
              <p:tags r:id="rId75"/>
            </p:custDataLst>
          </p:nvPr>
        </p:nvCxnSpPr>
        <p:spPr bwMode="auto">
          <a:xfrm flipH="1">
            <a:off x="766763" y="422592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线连接符 152">
            <a:extLst>
              <a:ext uri="{FF2B5EF4-FFF2-40B4-BE49-F238E27FC236}">
                <a16:creationId xmlns:a16="http://schemas.microsoft.com/office/drawing/2014/main" id="{674B9A19-79FC-3B78-C88F-6A6FB7BDDA26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 flipV="1">
            <a:off x="2763838" y="4422775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110" name="Text Placeholder 2">
            <a:extLst>
              <a:ext uri="{FF2B5EF4-FFF2-40B4-BE49-F238E27FC236}">
                <a16:creationId xmlns:a16="http://schemas.microsoft.com/office/drawing/2014/main" id="{AB6F3FB7-E6FE-FD85-CD42-FC81E83DB49E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4610100" y="5668963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CBCAA8-2361-449B-9109-FAC45C4EEC1B}" type="datetime'''''-''''''''''''''''''''''''9''''''''''''''.''3''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.3%</a:t>
            </a:fld>
            <a:endParaRPr lang="zh-CN" altLang="en-US" sz="1000" b="1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2F947533-A601-E2D0-BB8B-BC187BF96FAD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574675" y="3717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727087-613C-40EA-836B-6AA20152261F}" type="datetime'''''''''''''''''''''''''''''''''''''76''''.''3''''''''''''%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3%</a:t>
            </a:fld>
            <a:endParaRPr lang="zh-CN" altLang="en-US" sz="1000" b="1" dirty="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1A247736-8AE1-646A-ACD7-9844689C509B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581150" y="40036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3196EE-6ED3-4D5D-9796-258EA9436370}" type="datetime'''''''''''''6''''''''''''''''''3.''8''''''%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8%</a:t>
            </a:fld>
            <a:endParaRPr lang="zh-CN" altLang="en-US" sz="1000" b="1" dirty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4469721E-9C15-7D40-C5A6-95CB6D3A11D9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549400" y="63087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53F224-F43E-4ABA-90A9-48C66219B5B2}" type="datetime'''''''''F''''''''''''Y''''''''2''''6''''Q''''''''''3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12D0E834-7C33-621C-2B97-C5E984214B55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2586038" y="44624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D2EB37-C7F2-4370-82AE-C286DF26CD20}" type="datetime'''''5''''''''4''''''.3''''''''%''''''''''''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3%</a:t>
            </a:fld>
            <a:endParaRPr lang="zh-CN" altLang="en-US" sz="1000" b="1" dirty="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55C7B160-184A-FFC8-9C9C-8CCFB6928040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542925" y="63087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0D07E6-AC7B-4538-A906-E42356E0942B}" type="datetime'''FY''2''''''6''''''''''Q''''''''''''''''2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1193DFDC-B549-5331-4CCE-887198CDE7B3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2586038" y="38671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88555A-9A1E-42EE-9D41-DBB502B647F1}" type="datetime'''''''''''''6''''9''''''''''.''''''''''''''''8%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8%</a:t>
            </a:fld>
            <a:endParaRPr lang="zh-CN" altLang="en-US" sz="1000" b="1" dirty="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7191A745-5A57-5101-C7C8-682CC97612CE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2586038" y="46942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9A2D34-5095-4554-B1F0-3A122805D296}" type="datetime'''''''''''4''''''''''''''''''''4''''''''''''''''.''''''''1''%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1%</a:t>
            </a:fld>
            <a:endParaRPr lang="zh-CN" altLang="en-US" sz="1000" b="1" dirty="0"/>
          </a:p>
        </p:txBody>
      </p:sp>
      <p:sp useBgFill="1">
        <p:nvSpPr>
          <p:cNvPr id="141" name="Text Placeholder 2">
            <a:extLst>
              <a:ext uri="{FF2B5EF4-FFF2-40B4-BE49-F238E27FC236}">
                <a16:creationId xmlns:a16="http://schemas.microsoft.com/office/drawing/2014/main" id="{6FA87746-FE07-F5A7-42A7-596C0D89A215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2586038" y="41941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E8E43A-615D-4CA0-AE0A-172F9F729C8E}" type="datetime'5''5.''''''4%''''''''''''''''''''''''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0CB104BB-DB41-3B6D-F5BD-DC16EE4F7B52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2554288" y="63087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F6D99C-E1ED-41F4-BF5B-42F74AADBA07}" type="datetime'F''''''''''''''''''''''Y''''2''''''''''6Q''''''''4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A876B14-F632-DF52-7B19-3DC0870EC22C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3590925" y="39544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6E0BF2-16DE-4C50-85AE-7D8E655678B0}" type="datetime'''''''''''6''''''5''''''''''''''''.9''%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62CF3F47-0648-EB13-CC82-D3DFD95F0F0B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3360738" y="50514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61D515-C9C5-468A-9B20-C065A7A9E435}" type="datetime'''''2''''''3''''''''''''''''''.''''1%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3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31" name="Text Placeholder 2">
            <a:extLst>
              <a:ext uri="{FF2B5EF4-FFF2-40B4-BE49-F238E27FC236}">
                <a16:creationId xmlns:a16="http://schemas.microsoft.com/office/drawing/2014/main" id="{721C7FCA-137A-D86E-45D7-C967B7993BCD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3590925" y="4324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76A2FF-FCAD-4AAD-A00C-F1D9900D28F8}" type="datetime'''''''''4''''9''''''''.''7''''%''''''''''''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.7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32" name="Text Placeholder 2">
            <a:extLst>
              <a:ext uri="{FF2B5EF4-FFF2-40B4-BE49-F238E27FC236}">
                <a16:creationId xmlns:a16="http://schemas.microsoft.com/office/drawing/2014/main" id="{DE71F8BC-56DC-C35B-73D2-0E985B30483F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3590925" y="48196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82403D-8EB1-4E4D-8276-E4BAEEC6667C}" type="datetime'''''''''3''''''8''''''''.''''6''''''''''''''%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067890C5-F2A9-92D6-67B0-4E6FCC274267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3559175" y="63087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25D3E-122E-49E2-8BBE-47D1859E6DEC}" type="datetime'''''''''F''''''Y''''''''2''7''''''''Q''''''''''''''''''''''1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137" name="Text Placeholder 2">
            <a:extLst>
              <a:ext uri="{FF2B5EF4-FFF2-40B4-BE49-F238E27FC236}">
                <a16:creationId xmlns:a16="http://schemas.microsoft.com/office/drawing/2014/main" id="{0AEE1318-9DCA-DF81-506C-8EFB41260E2E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806450" y="41576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29224F2-D78D-4366-90AD-AAD36A492C71}" type="datetime'''6''''''''''''2''''''''''''''.''''''''3''''''''''''''%'''''">
              <a:rPr lang="zh-CN" altLang="en-US" sz="10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11" name="Text Placeholder 2">
            <a:extLst>
              <a:ext uri="{FF2B5EF4-FFF2-40B4-BE49-F238E27FC236}">
                <a16:creationId xmlns:a16="http://schemas.microsoft.com/office/drawing/2014/main" id="{03A4D5B2-FA57-2A43-A248-9CE4B00C4DD0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4576763" y="6076950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6AC315-EC0A-4D8B-A2B9-2B3F3A39368B}" type="datetime'''''-''''''''''''''2''''''''''''''7''''''.''''''''''3%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7.3%</a:t>
            </a:fld>
            <a:endParaRPr lang="zh-CN" altLang="en-US" sz="1000" b="1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DBA458F0-2532-F2F8-CB30-D6B771EBC0A0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574675" y="40147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0D51AF-529D-40C0-9010-CBDE63A55C66}" type="datetime'6''''''''''''''3''''.''''''''''''''''''''''3''''''''%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3%</a:t>
            </a:fld>
            <a:endParaRPr lang="zh-CN" altLang="en-US" sz="1000" b="1" dirty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6504D5B3-C240-7785-D676-5930D83A0CD3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4672013" y="63087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B64271-74CD-458E-9A94-DF922AE4819C}" type="datetime'''''''''''''''''''''''''''''''''''2''''''''''月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116" name="Text Placeholder 2">
            <a:extLst>
              <a:ext uri="{FF2B5EF4-FFF2-40B4-BE49-F238E27FC236}">
                <a16:creationId xmlns:a16="http://schemas.microsoft.com/office/drawing/2014/main" id="{07ECF9A9-EFB4-6BF9-8936-98045992E59E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5372100" y="40449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7066CA-7ADD-4C94-B889-C3FFAD4BB871}" type="datetime'''6''''''''''''''''7''''''''''''''''''''''.''''''''''2%'">
              <a:rPr lang="zh-CN" altLang="en-US" sz="10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b="1" dirty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216FBB56-00F2-44E2-3FC2-F74F4A8176AF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602288" y="3463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744CB1-94CB-4B7C-AAE2-29AB3545888D}" type="datetime'''''''''8''7''''''''''''''''''''''''''''''.''''''4''''''%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.4%</a:t>
            </a:fld>
            <a:endParaRPr lang="zh-CN" altLang="en-US" sz="1000" b="1" dirty="0"/>
          </a:p>
        </p:txBody>
      </p:sp>
      <p:sp useBgFill="1">
        <p:nvSpPr>
          <p:cNvPr id="105" name="Text Placeholder 2">
            <a:extLst>
              <a:ext uri="{FF2B5EF4-FFF2-40B4-BE49-F238E27FC236}">
                <a16:creationId xmlns:a16="http://schemas.microsoft.com/office/drawing/2014/main" id="{6C211480-7146-4EE8-EBF1-56F1BFDD8916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5602288" y="42926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35018C-DB16-4B45-9620-A2022BD6EA7E}" type="datetime'6''''1''''''''''''''''''''''.7''''%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7%</a:t>
            </a:fld>
            <a:endParaRPr lang="zh-CN" altLang="en-US" sz="1000" b="1" dirty="0"/>
          </a:p>
        </p:txBody>
      </p:sp>
      <p:sp useBgFill="1">
        <p:nvSpPr>
          <p:cNvPr id="119" name="Text Placeholder 2">
            <a:extLst>
              <a:ext uri="{FF2B5EF4-FFF2-40B4-BE49-F238E27FC236}">
                <a16:creationId xmlns:a16="http://schemas.microsoft.com/office/drawing/2014/main" id="{41791812-8EBC-31DA-5B05-5DC5E00EE416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5602288" y="37957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47B38F-22D1-497F-81DF-6CDFEC02CFEC}" type="datetime'''''''''''''''''''''''7''''''2''''.''''''9''''''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4D041042-4EDC-288F-680C-B38BBA9033E8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5678488" y="63087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54BE6F-6613-4833-B9A2-3B60BD48CFDA}" type="datetime'''''''''''''''''''3月''''''''''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624BC34B-DC7E-1064-6591-4084E94C55D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607175" y="40322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A58382-1379-487D-84C6-76AAE0D9445D}" type="datetime'''6''''''''2''''''''''''''''.''''''''''''''''''''5''''%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5%</a:t>
            </a:fld>
            <a:endParaRPr lang="zh-CN" altLang="en-US" sz="1000" b="1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E4A48CC7-411B-BD71-9E56-5F66146CE18C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607175" y="51323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F055B6-6425-40A7-AFED-197B8B69B3B4}" type="datetime'2''''''''''''''''4''''''''''''''.''''9''%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9%</a:t>
            </a:fld>
            <a:endParaRPr lang="zh-CN" altLang="en-US" sz="1000" b="1" dirty="0"/>
          </a:p>
        </p:txBody>
      </p:sp>
      <p:sp useBgFill="1">
        <p:nvSpPr>
          <p:cNvPr id="124" name="Text Placeholder 2">
            <a:extLst>
              <a:ext uri="{FF2B5EF4-FFF2-40B4-BE49-F238E27FC236}">
                <a16:creationId xmlns:a16="http://schemas.microsoft.com/office/drawing/2014/main" id="{21CD49BA-B24F-5E81-20BA-85805DF7E80B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6607175" y="43846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107537-61C4-4ED5-9FE4-FA4E6660B9AA}" type="datetime'''57''''.''''''''''''7''''''''''''%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7%</a:t>
            </a:fld>
            <a:endParaRPr lang="zh-CN" altLang="en-US" sz="1000" b="1" dirty="0"/>
          </a:p>
        </p:txBody>
      </p:sp>
      <p:sp useBgFill="1">
        <p:nvSpPr>
          <p:cNvPr id="125" name="Text Placeholder 2">
            <a:extLst>
              <a:ext uri="{FF2B5EF4-FFF2-40B4-BE49-F238E27FC236}">
                <a16:creationId xmlns:a16="http://schemas.microsoft.com/office/drawing/2014/main" id="{C4232740-5D95-ECC5-D9F2-E300E7E62E89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6838950" y="45958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D0B5B4-11BF-4ED7-9915-AF60D3ED727C}" type="datetime'''4''''''''''''3''''''''''.''1''''''%'''''''''''''''''">
              <a:rPr lang="zh-CN" altLang="en-US" sz="1000" b="1" smtClean="0">
                <a:effectLst/>
              </a:rPr>
              <a:pPr/>
              <a:t>43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0A38FEE4-ACAB-1900-DD58-149AAF95463B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6683375" y="63087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6D5312-E0DB-4C37-B9A6-D8BCB2583CD6}" type="datetime'''''''''''''''''''''''''''''''4月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87338524-0827-C8BA-B0A0-002974C5580B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7612063" y="38385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72479F-87A9-43D2-B207-2F79E546B078}" type="datetime'''''''''''''''''''''''''''''''7''1''''''''''''.0''''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247A2CE5-BCC8-EF8B-9EA7-2C25DEB5F541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612063" y="52578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109701-B1DB-4502-83CD-AC14B3EADECE}" type="datetime'''''''''1''''''''''9''''''''''''''''''''.''''''4''''''''''%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90" name="Text Placeholder 2">
            <a:extLst>
              <a:ext uri="{FF2B5EF4-FFF2-40B4-BE49-F238E27FC236}">
                <a16:creationId xmlns:a16="http://schemas.microsoft.com/office/drawing/2014/main" id="{7932B48F-B98B-B14E-61A6-E39BF4869631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612063" y="46593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07CE80-B342-4F08-B752-F9E7B6A2C3F6}" type="datetime'''''3''''''5''''.''''''''''''''''0''''''''''''''''''%'''''''">
              <a:rPr lang="zh-CN" altLang="en-US" sz="10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7DA1E70C-E703-A9FC-52F4-197A6B19F465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7843838" y="48942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68BD37-AF87-4837-A14F-CFB15C46E829}" type="datetime'''''''''''''3''''''''0''.''''0''''''%'''''">
              <a:rPr lang="zh-CN" altLang="en-US" sz="1000" b="1" smtClean="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3B95B37D-9D38-F0CC-591B-F653A31DEBF6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574675" y="4344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6E0285-6700-4281-9B25-D36560ED38A9}" type="datetime'''''''5''''''''''''''''''''''9.''5''''''%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5%</a:t>
            </a:fld>
            <a:endParaRPr lang="zh-CN" altLang="en-US" sz="1000" b="1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00BE8B7E-F20F-8E2B-445B-80C773A1ADE7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7580313" y="63087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AA4412-B8BF-430B-8DD4-815FC88458DB}" type="datetime'5''''''''''''''月''''''m''''''''''''''t''''''''''d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 useBgFill="1">
        <p:nvSpPr>
          <p:cNvPr id="120" name="Text Placeholder 2">
            <a:extLst>
              <a:ext uri="{FF2B5EF4-FFF2-40B4-BE49-F238E27FC236}">
                <a16:creationId xmlns:a16="http://schemas.microsoft.com/office/drawing/2014/main" id="{6E4540A1-9800-3F35-0D3A-FFEE9AA97484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1581150" y="43434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5D7DAA-C347-425E-ABF5-F270CA763077}" type="datetime'''''4''''''''''''''8''''''.8''''''''%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8%</a:t>
            </a:fld>
            <a:endParaRPr lang="zh-CN" altLang="en-US" sz="1000" b="1" dirty="0"/>
          </a:p>
        </p:txBody>
      </p:sp>
      <p:cxnSp>
        <p:nvCxnSpPr>
          <p:cNvPr id="142" name="直线连接符 141">
            <a:extLst>
              <a:ext uri="{FF2B5EF4-FFF2-40B4-BE49-F238E27FC236}">
                <a16:creationId xmlns:a16="http://schemas.microsoft.com/office/drawing/2014/main" id="{54E0DCBE-7E09-F976-D235-CD59207CA89A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260350" y="6632575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B9A1DB3F-5E0C-3F12-6200-94FA338E7370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1028700" y="6632575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直线连接符 143">
            <a:extLst>
              <a:ext uri="{FF2B5EF4-FFF2-40B4-BE49-F238E27FC236}">
                <a16:creationId xmlns:a16="http://schemas.microsoft.com/office/drawing/2014/main" id="{4AFD660A-F91D-5B3D-FED9-081634B4505A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1797050" y="6632575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直线连接符 144">
            <a:extLst>
              <a:ext uri="{FF2B5EF4-FFF2-40B4-BE49-F238E27FC236}">
                <a16:creationId xmlns:a16="http://schemas.microsoft.com/office/drawing/2014/main" id="{CC0B59CB-F064-2EFA-B1F5-64559C5A8B67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2565400" y="6632575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3EFB6417-9B4C-754B-BA77-B6E640E38061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663575" y="65738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99E6A0-F54D-4E77-8E9B-F92AB9FBEA9E}" type="datetime'电''''''''''''''''''''''''''''销'''''''''''''''">
              <a:rPr lang="zh-CN" altLang="en-US" sz="1000" b="1" smtClean="0"/>
              <a:pPr/>
              <a:t>电销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435B7B89-41A4-9DAA-CB84-F61E56865F39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431925" y="65738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E8649F-B0C9-4658-BC75-4316D8E6DE23}" type="datetime'''''''''''''渠''''''''''''''''''''''''道'">
              <a:rPr lang="zh-CN" altLang="en-US" sz="1000" b="1" smtClean="0"/>
              <a:pPr/>
              <a:t>渠道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47773D2A-12E9-137E-A1B1-955D0700223C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2200275" y="65738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0FF243-93C3-4E5B-9034-C1A6A45045DE}" type="datetime'''''''''直''''''''''''''''''''''营'''''''''''''''''''''''">
              <a:rPr lang="zh-CN" altLang="en-US" sz="1000" b="1" smtClean="0"/>
              <a:pPr/>
              <a:t>直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B1479816-301D-E17F-5945-BB0A1C0D8E9B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2968625" y="6573838"/>
            <a:ext cx="125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710C6A-4585-4B26-B7B9-9F5E9388E7BE}" type="datetime'''''a''''''''l''l'''''''''''''''''''''">
              <a:rPr lang="zh-CN" altLang="en-US" sz="1000" b="1" smtClean="0"/>
              <a:pPr/>
              <a:t>all</a:t>
            </a:fld>
            <a:endParaRPr lang="zh-CN" altLang="en-US" sz="1000" b="1" dirty="0"/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C588FE27-109C-BAC6-49CC-E71BF1076E31}"/>
              </a:ext>
            </a:extLst>
          </p:cNvPr>
          <p:cNvSpPr txBox="1"/>
          <p:nvPr/>
        </p:nvSpPr>
        <p:spPr>
          <a:xfrm>
            <a:off x="3882662" y="3271837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</p:spTree>
    <p:extLst>
      <p:ext uri="{BB962C8B-B14F-4D97-AF65-F5344CB8AC3E}">
        <p14:creationId xmlns:p14="http://schemas.microsoft.com/office/powerpoint/2010/main" val="1948425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3DBFAD-8371-9459-D119-6B7481AA3CF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42766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3" imgW="7772400" imgH="10058400" progId="TCLayout.ActiveDocument.1">
                  <p:embed/>
                </p:oleObj>
              </mc:Choice>
              <mc:Fallback>
                <p:oleObj name="think-cell 幻灯片" r:id="rId14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1" name="Chart 3">
            <a:extLst>
              <a:ext uri="{FF2B5EF4-FFF2-40B4-BE49-F238E27FC236}">
                <a16:creationId xmlns:a16="http://schemas.microsoft.com/office/drawing/2014/main" id="{B17E0343-2049-CDF0-1C8F-A2BDB2A8126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874377"/>
              </p:ext>
            </p:extLst>
          </p:nvPr>
        </p:nvGraphicFramePr>
        <p:xfrm>
          <a:off x="168275" y="558800"/>
          <a:ext cx="2686050" cy="2162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5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7F7BB91-A0BD-045F-0801-7881F65A903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755775" y="1703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D5A9D0-D07A-4CEF-8BDD-609A2BC4D97D}" type="datetime'''''''''''''''''7''9''''''.9''''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.9%</a:t>
            </a:fld>
            <a:endParaRPr lang="zh-CN" altLang="en-US" sz="1000" dirty="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E6EDDB86-0F50-EEC2-9344-00CC14FA1D8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295275" y="17160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0FB979-5C1F-449E-8214-3728096615DE}" type="datetime'''8''''''''''''7''''''''''''.''8''''''%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1ECBA274-8286-8F90-D109-DFA5F9D892F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95275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2E30F1-9905-40F2-ABFB-FD18EA6ADDAC}" type="datetime'3''''''''''''''''''''''''''''''''''.''''0%''''''''''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3" name="文本占位符 2">
            <a:extLst>
              <a:ext uri="{FF2B5EF4-FFF2-40B4-BE49-F238E27FC236}">
                <a16:creationId xmlns:a16="http://schemas.microsoft.com/office/drawing/2014/main" id="{D288AE8A-75F5-7E46-79CF-A1678FB80A4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588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DA71F3-C2F7-4EC6-9603-2F87903E6212}" type="datetime'F''''Y''''''2''''6''''Q''''''''''''''''''''''''''2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0434949-24F6-96E8-1685-54E7D283071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47738" y="649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8BA2D1-9FB7-42B8-8055-23EC6648558C}" type="datetime'''''7''''.''''7%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E811CB37-2DC4-9407-AF70-112A2CD9CA8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941388" y="8191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37DE20-3620-4712-AAEB-01531626AF10}" type="datetime'''''''''''''''''4''.''''''''1''''''''''''''''''''%''''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033BEA7-3092-7222-41E9-708A8F3C8F8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14400" y="1643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76FA79-DD2D-4B4F-8ADF-9E1D9A30DF12}" type="datetime'''8''''''''''''3''''''.7''''''''''''%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.7%</a:t>
            </a:fld>
            <a:endParaRPr lang="zh-CN" altLang="en-US" sz="1000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30BC7CBD-A18B-E61A-2ABC-24BBB6148335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947738" y="25241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B01F87-46C5-4D83-A446-6D4F6727C853}" type="datetime'''4.''''''''6''''%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1574F089-F21F-F8B4-F1D2-EFDA7FF41A6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841375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22877-E6CE-4235-9D21-5721A984A319}" type="datetime'''''''''F''''''Y2''''''6''Q''''''''3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B9F5FB0-174F-1FD2-E816-07A2C89CB66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789113" y="7667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0F67A6-8FA1-4088-B83E-F2C95EDF4E81}" type="datetime'''''''''''9''''''''''.''''''''''''''6''''''''%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3CDA4C8A-C1BD-0863-90B8-3F8FF30B938B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782763" y="9620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DC00B9D-FFEF-4854-8EF7-58682A86F00C}" type="datetime'''''''''''''''4''.''7''''''%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CC995E0-9076-8780-90AB-40593C20BAF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42888" y="9683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FBAEAA-1F2A-4EDF-9B79-27EA1D66A0A9}" type="datetime'''''''''''''''''''''''''3''''''.''''''''6''''''%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E5BCAA91-58A7-BD8D-22BB-310486ACDA65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789113" y="25146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141445-32EC-42AC-852A-F85FC2F2666C}" type="datetime'''''''''''''''''''''''''''''5''.''''9''''''''''''%''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F76B7D6A-05FF-F813-571B-E44F172355C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682750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4C3D9-A40D-4191-8BB5-A3D20F8F5BD3}" type="datetime'''''''''F''Y''''''''''''2''6Q4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8805AE9-4505-EBBF-B8FB-8843B87449B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497138" y="13811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7820BD-8BE6-42E1-BE7B-6340CA28FB96}" type="datetime'''''''''''''''''''''''''''''''''''8.''2%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C80E153-6A82-08C6-B185-711661B8414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439988" y="15049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BD4955-CAF7-4CA1-A143-5BD30AD82AB6}" type="datetime'''3''''''''''''''''''''.''''''''''''''''''''''4''''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4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E743A02-0DEC-CCE1-8B29-D392044E9A08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374900" y="20097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CDE603-3215-4C08-B88A-C0F232253840}" type="datetime'''''''8''''1.''8''''''''''''''%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.8%</a:t>
            </a:fld>
            <a:endParaRPr lang="zh-CN" altLang="en-US" sz="1000" dirty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F5EC898D-1067-2DF7-4694-BE9BA4914C3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439988" y="25320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4F7016-9AEF-4054-9C32-F4A40AC388A0}" type="datetime'''''''''''''6''.''''''''''''''''5''''''''''''''''''''%''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E7D24209-D768-0588-FAFC-A0C2B841D0B9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455863" y="2730500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91BB80-C331-4BCC-AC04-26BF98B7C418}" type="datetime'''''''''FY''''2''7''''''''''''Q''''1''''''''t''''''''''''d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 useBgFill="1">
        <p:nvSpPr>
          <p:cNvPr id="103" name="Text Placeholder 2">
            <a:extLst>
              <a:ext uri="{FF2B5EF4-FFF2-40B4-BE49-F238E27FC236}">
                <a16:creationId xmlns:a16="http://schemas.microsoft.com/office/drawing/2014/main" id="{782063BF-AB53-BA94-ED9F-86706A0F8B6E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0" y="60325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457B3-34D8-446A-9BEC-31BACE2DAF3D}" type="datetime'''18''''''''''''''''''''5''''''''''''''''1''''3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51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D28315A-9845-0A4A-C53A-B3AA6DCE7B6F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839788" y="42703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9C0DF8-1444-4163-ACCC-4260EF8292BC}" type="datetime'''''''''''''''''''''''''''''''''''''2''''0''3''''1''1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11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FCEA50EF-A0EE-AEAC-FB2F-EB34FFB4EE62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681163" y="53022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51D9C-2346-4FD0-AA4A-FD2EE8ADDDBB}" type="datetime'''''''''''''''''''''''''''1''''''9''''''''''''2''''''65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65</a:t>
            </a:fld>
            <a:endParaRPr kumimoji="1" lang="zh-CN" altLang="en-US" sz="1400" dirty="0"/>
          </a:p>
        </p:txBody>
      </p:sp>
      <p:sp useBgFill="1">
        <p:nvSpPr>
          <p:cNvPr id="49" name="Text Placeholder 2">
            <a:extLst>
              <a:ext uri="{FF2B5EF4-FFF2-40B4-BE49-F238E27FC236}">
                <a16:creationId xmlns:a16="http://schemas.microsoft.com/office/drawing/2014/main" id="{F1CAE620-7489-63E9-90F1-2B487A3EC8BB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498725" y="1144588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47202BF-7A9F-4E82-A50E-5435E0482768}" type="datetime'''''''''''''''''1''2''''''''''''''''0''''2''''''''6'''''''''''">
              <a:rPr kumimoji="1" lang="zh-CN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026</a:t>
            </a:fld>
            <a:endParaRPr kumimoji="1" lang="zh-CN" altLang="en-US" sz="1400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6751F2D6-EB0B-38B7-42C7-7C9B38D8A09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95275" y="8016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B0B4AB-B449-4249-B5C5-F331AA5EEBF5}" type="datetime'''''5''''''''''''''.''6''''''''''''''''''''''''''''''''''''%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graphicFrame>
        <p:nvGraphicFramePr>
          <p:cNvPr id="19" name="Chart 3">
            <a:extLst>
              <a:ext uri="{FF2B5EF4-FFF2-40B4-BE49-F238E27FC236}">
                <a16:creationId xmlns:a16="http://schemas.microsoft.com/office/drawing/2014/main" id="{F5FD2586-8280-2A97-DFC2-EB7A111F1534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074628126"/>
              </p:ext>
            </p:extLst>
          </p:nvPr>
        </p:nvGraphicFramePr>
        <p:xfrm>
          <a:off x="3203575" y="474663"/>
          <a:ext cx="2555875" cy="224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6"/>
          </a:graphicData>
        </a:graphic>
      </p:graphicFrame>
      <p:cxnSp>
        <p:nvCxnSpPr>
          <p:cNvPr id="16" name="直线连接符 15">
            <a:extLst>
              <a:ext uri="{FF2B5EF4-FFF2-40B4-BE49-F238E27FC236}">
                <a16:creationId xmlns:a16="http://schemas.microsoft.com/office/drawing/2014/main" id="{768A14AB-86DE-821E-C365-2E90D9687880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H="1">
            <a:off x="3286125" y="1592263"/>
            <a:ext cx="3175" cy="6191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56FA1D38-EE04-E548-A3E7-7F958A1C1599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4737100" y="24971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A3C5D9-CAA9-4C91-9BEC-54F638EEE48A}" type="datetime'''''''''''''''''''''''7''''''''.3''''''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E7609025-5946-6D0F-A1B2-D1532B079A8D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330575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367E05-B3A4-4F28-BF78-94061C2E0602}" type="datetime'''''4.7''''''''''''''''''''''''''%''''''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5" name="文本占位符 2">
            <a:extLst>
              <a:ext uri="{FF2B5EF4-FFF2-40B4-BE49-F238E27FC236}">
                <a16:creationId xmlns:a16="http://schemas.microsoft.com/office/drawing/2014/main" id="{5FAA3E4A-E592-8063-A10F-E10E20629AF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165475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D53362-F902-4663-9F48-B43317A43633}" type="datetime'''''''2''''月''''''''''''''''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014796E-BA2E-376F-1C5F-D636E2F18B51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3921125" y="6397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ABABD7-DEC5-4CF2-A664-1BB898204918}" type="datetime'''9''''''.''''''3''''''%''''''''''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9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5108FCBB-7AAF-7582-7C35-C29E315C2191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3921125" y="8524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C7309D-748A-4B8C-A7E1-5DB83C1B751B}" type="datetime'''''5''''''''''''''''''''''''''.''''''7''''''''''''%'''''''''">
              <a:rPr lang="zh-CN" altLang="en-US" sz="1000" smtClean="0">
                <a:effectLst/>
              </a:rPr>
              <a:pPr/>
              <a:t>5.7%</a:t>
            </a:fld>
            <a:endParaRPr lang="zh-CN" altLang="en-US" sz="10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E5C4A5F5-5956-CDFE-A9CE-ABC71A1C45A7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3906838" y="16097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B3FCFD-2200-4193-AA6E-570A9AC45845}" type="datetime'''''''''''''7''''''''7.''''''''9''''%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9%</a:t>
            </a:fld>
            <a:endParaRPr lang="zh-CN" altLang="en-US" sz="10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7DA1F778-F1E8-0130-9B70-DA9F1249D49E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3940175" y="24923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B6094F-B3EC-4D6A-94CA-8B2D2A6076F4}" type="datetime'7''''.''''''''''''1''''''''''''''''''''''''''''%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9" name="文本占位符 2">
            <a:extLst>
              <a:ext uri="{FF2B5EF4-FFF2-40B4-BE49-F238E27FC236}">
                <a16:creationId xmlns:a16="http://schemas.microsoft.com/office/drawing/2014/main" id="{82FE0013-8771-E3EE-EC16-B5BA341E0246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3962400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B07B-4AA0-4CB3-AA54-68EFE864F777}" type="datetime'''''''''''''''3月''''''''''''''''''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E7DF1F1-C554-AE67-20A1-3D773936B94C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4703763" y="76993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B5966A-E593-4A21-8AD0-CB414129EDCF}" type="datetime'''''''''''10''''''''''''''''''''''''''''''''.''8''''%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DFFEAEB-B75A-7702-E479-12C1EC793FA4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705350" y="10223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AE806D-08CD-4C32-A877-8686BE89E1EC}" type="datetime'''''''''3''''''''''''''.''''''''''8''%'''''''''''''''">
              <a:rPr lang="zh-CN" altLang="en-US" sz="1000" smtClean="0">
                <a:effectLst/>
              </a:rPr>
              <a:pPr/>
              <a:t>3.8%</a:t>
            </a:fld>
            <a:endParaRPr lang="zh-CN" altLang="en-US" sz="10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6B892DA-3F08-1626-A2E8-FD53C8CAC0E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703763" y="1685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6EF28D-E243-496F-8590-9975E09601E9}" type="datetime'''''''''''7''''''8''''''''''''''.''''1%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1%</a:t>
            </a:fld>
            <a:endParaRPr lang="zh-CN" altLang="en-US" sz="10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A07E9B5-F9A2-76F2-1E02-D192F0DEC061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330575" y="2108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50D2B5-FC6E-4F0E-8059-BD03A80019BE}" type="datetime'''86''''''.''''''''''''''''''2''''''''''''''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2%</a:t>
            </a:fld>
            <a:endParaRPr lang="zh-CN" altLang="en-US" sz="1000" dirty="0"/>
          </a:p>
        </p:txBody>
      </p:sp>
      <p:sp>
        <p:nvSpPr>
          <p:cNvPr id="63" name="文本占位符 2">
            <a:extLst>
              <a:ext uri="{FF2B5EF4-FFF2-40B4-BE49-F238E27FC236}">
                <a16:creationId xmlns:a16="http://schemas.microsoft.com/office/drawing/2014/main" id="{15B126A7-2F24-FBE7-ECE8-E99954B814DF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4759325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50F975-10B2-4AAC-9014-1E61891621B9}" type="datetime'4''月''''''''''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7963F28A-5B7B-DF9D-E13E-133D27002A6B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414963" y="16017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78B46A-3E63-443A-A711-638B302E5DC2}" type="datetime'''''''3''''.''''''''''''''''''''''''''''6''''''''''%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3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45FCE517-CCB0-A110-C6D2-A71DC61A6D76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391150" y="17716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B69D57-3B15-4207-93A4-384AEEA61E4D}" type="datetime'''''''''''''''''''''''''''''''2''.''''''7''%'">
              <a:rPr lang="zh-CN" altLang="en-US" sz="1000" smtClean="0">
                <a:effectLst/>
              </a:rPr>
              <a:pPr/>
              <a:t>2.7%</a:t>
            </a:fld>
            <a:endParaRPr lang="zh-CN" altLang="en-US" sz="100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72F0358-3C84-7E31-C706-46F71EE6A2E2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280025" y="20716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4F2315-5303-4F9F-80E7-630A98740F04}" type="datetime'''''8''8''''''''''''''.''''''''8''''''''''''''''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.8%</a:t>
            </a:fld>
            <a:endParaRPr lang="zh-CN" altLang="en-US" sz="10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2DEA9935-4AC7-645F-F918-793AAAE6B7E1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345113" y="25415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300831-D8AB-4EC0-A44E-4486693C386D}" type="datetime'''''''''''''''''''''''''''4''''.9''''''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F22FFD14-E553-4859-FDBE-5CBF988C17C5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5427663" y="2730500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E985A-8BAB-4E19-9E7A-60C0EC744830}" type="datetime'''5月''''''''''''m''''''''''''''''''''''td''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68" name="Text Placeholder 2">
            <a:extLst>
              <a:ext uri="{FF2B5EF4-FFF2-40B4-BE49-F238E27FC236}">
                <a16:creationId xmlns:a16="http://schemas.microsoft.com/office/drawing/2014/main" id="{A2D327AB-5E9B-B20A-4E6C-79FA17B9F9B3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089275" y="14001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6A45DCB-D6D2-4A4F-AD1A-57235759BEA8}" type="datetime'''''''''''''''''''3''''''''''8''8''''''9'">
              <a:rPr kumimoji="1" lang="zh-CN" altLang="en-US" sz="1400" smtClean="0">
                <a:effectLst/>
              </a:rPr>
              <a:pPr/>
              <a:t>3889</a:t>
            </a:fld>
            <a:endParaRPr kumimoji="1" lang="zh-CN" altLang="en-US" sz="1400" dirty="0"/>
          </a:p>
        </p:txBody>
      </p:sp>
      <p:sp useBgFill="1">
        <p:nvSpPr>
          <p:cNvPr id="69" name="Text Placeholder 2">
            <a:extLst>
              <a:ext uri="{FF2B5EF4-FFF2-40B4-BE49-F238E27FC236}">
                <a16:creationId xmlns:a16="http://schemas.microsoft.com/office/drawing/2014/main" id="{20C4E528-FAD3-7E77-11A2-5D5386FB7D36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3867150" y="4270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6667AA-CAA1-47BD-84BC-52525EF7EFAC}" type="datetime'''''''8''''''4''''''''''29'''''''''''''''''">
              <a:rPr kumimoji="1" lang="zh-CN" altLang="en-US" sz="1400" smtClean="0">
                <a:effectLst/>
              </a:rPr>
              <a:pPr/>
              <a:t>842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7B23914F-40FC-0618-85CA-13EDA7802C12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4673600" y="52228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FD846D-DB74-4339-8EF1-2A43D6531466}" type="datetime'''''''''7''''''7''''''''0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2</a:t>
            </a:fld>
            <a:endParaRPr kumimoji="1" lang="zh-CN" altLang="en-US" sz="1400" dirty="0"/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id="{FAED6BCA-0D64-5B29-9B31-9F3E0776A27F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470525" y="14160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1400" dirty="0"/>
              <a:t>4083</a:t>
            </a:r>
            <a:endParaRPr kumimoji="1" lang="zh-CN" altLang="en-US" sz="14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0CAAFC6B-FF0F-ABA0-8737-CD9D3D7CDC57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3201988" y="17319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33BE49-42F2-4902-BB51-FDF9A5D7840C}" type="datetime'''''''''''''''''4.5''''''''%'''''''''''''''''''''">
              <a:rPr lang="zh-CN" altLang="en-US" sz="1000" smtClean="0">
                <a:effectLst/>
              </a:rPr>
              <a:pPr/>
              <a:t>4.5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46AD47B-19F1-8950-356C-BBE5CDE8ED0D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3206750" y="15859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5AF2C9-A33A-419A-9899-46FC14FD4E06}" type="datetime'''4.''6''''''''''''''%''''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4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150" name="Chart 3">
            <a:extLst>
              <a:ext uri="{FF2B5EF4-FFF2-40B4-BE49-F238E27FC236}">
                <a16:creationId xmlns:a16="http://schemas.microsoft.com/office/drawing/2014/main" id="{D676FB75-2541-4A55-65D8-2FEFE740F095}"/>
              </a:ext>
            </a:extLst>
          </p:cNvPr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1787244752"/>
              </p:ext>
            </p:extLst>
          </p:nvPr>
        </p:nvGraphicFramePr>
        <p:xfrm>
          <a:off x="6049963" y="558800"/>
          <a:ext cx="2847975" cy="2154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7"/>
          </a:graphicData>
        </a:graphic>
      </p:graphicFrame>
      <p:cxnSp>
        <p:nvCxnSpPr>
          <p:cNvPr id="145" name="直线连接符 144">
            <a:extLst>
              <a:ext uri="{FF2B5EF4-FFF2-40B4-BE49-F238E27FC236}">
                <a16:creationId xmlns:a16="http://schemas.microsoft.com/office/drawing/2014/main" id="{82626B54-AA5A-64F8-8536-91127B6B7C54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H="1" flipV="1">
            <a:off x="7026275" y="823913"/>
            <a:ext cx="15875" cy="57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直线连接符 154">
            <a:extLst>
              <a:ext uri="{FF2B5EF4-FFF2-40B4-BE49-F238E27FC236}">
                <a16:creationId xmlns:a16="http://schemas.microsoft.com/office/drawing/2014/main" id="{E57FB3BF-1EFE-FD9B-8A78-13B456A97F13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V="1">
            <a:off x="8709025" y="1203325"/>
            <a:ext cx="60325" cy="873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C7CCEDEE-89FA-DF62-49D7-3344055AED9A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7745413" y="1836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1875CE-1B40-43FD-8DD3-71A19BCF40FE}" type="datetime'''''''''''''''9''1''''''''''''.''''''''''''2''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.2%</a:t>
            </a:fld>
            <a:endParaRPr lang="zh-CN" altLang="en-US" sz="1000" dirty="0"/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7A7BA2A8-1E4B-73A9-9121-E8168B33F052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6018213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C270F-5F81-4AFF-B219-EE765A1A38F8}" type="datetime'''''''''''''''''''''W''''''''''''''''''''''''''''''''4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6751E8AB-6683-CC63-3879-1F9636E4AA78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6886575" y="881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89EDB1-59B9-4A62-8D79-EABFC414D447}" type="datetime'1''''8''''''''.''''''''3''''''''''''''''''''%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18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2FA08CDB-D253-0D93-84F5-F73F364F2DB9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176963" y="25304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05AC6E-5697-45DC-97D5-ED56CBC517A7}" type="datetime'''''''''''''''''3''''''''''''''.''''''''''9''%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0452219E-8DEA-2CB8-AAD9-A5D78798434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6867525" y="11350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796465-45E9-407D-A0FF-8DD8F29613B3}" type="datetime'''''''''''''''''''3''''.''9%'''''''">
              <a:rPr lang="zh-CN" altLang="en-US" sz="1000" smtClean="0"/>
              <a:pPr/>
              <a:t>3.9%</a:t>
            </a:fld>
            <a:endParaRPr lang="zh-CN" altLang="en-US" sz="10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AD5C0AC0-C79C-A12A-5258-CE3D6A7FB3E4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6850063" y="16700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D3845B-3F06-43C8-87F4-6046B14B9B39}" type="datetime'''6''''''''''''''''''''''''6''''.''''''''0''''''''''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0%</a:t>
            </a:fld>
            <a:endParaRPr lang="zh-CN" altLang="en-US" sz="10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90C4E0A7-6497-AA93-BB47-E9C9EF1E9BE4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6850063" y="2444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857B8F-0C74-4C91-9828-C16785326064}" type="datetime'''''''1''''1''''''''''''''''''''''''''''''''.''8%''''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EBF624BE-AC14-FAC1-2470-CE882D81E6B7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6911975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43F66-5765-43A8-AD20-C0BF2ADCE597}" type="datetime'''''''''''''''W''''''''''''''''''''''''''3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D9C9CADE-0AAE-617B-E98E-6E79CC8B0B6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7777163" y="11382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873ACF-26A6-477E-9F06-AA316A3F23FA}" type="datetime'''''''3''''''''''''''''''''''''''.9''''''''''%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3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3B640E3-A1F1-7C26-CD71-02251845915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7747000" y="12414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C59697-B808-4974-BFBF-09B01879623D}" type="datetime'''''''''''''''''''''''''''2''.''''''''''5''''%'''''''''">
              <a:rPr lang="zh-CN" altLang="en-US" sz="1000" smtClean="0">
                <a:effectLst/>
              </a:rPr>
              <a:pPr/>
              <a:t>2.5%</a:t>
            </a:fld>
            <a:endParaRPr lang="zh-CN" altLang="en-US" sz="1000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9AF2FD65-CDFE-92DC-13DB-6ACF293A8383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6176963" y="18669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ED0E80-99C1-4FA0-88BA-79550E93C5E4}" type="datetime'''''''7''''''''''''''7''''''''''''''''.5''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5%</a:t>
            </a:fld>
            <a:endParaRPr lang="zh-CN" altLang="en-US" sz="1000" dirty="0"/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0E57972E-D5CA-A1AE-A325-6F76B00F500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7778750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1C228E-91EA-429E-84C8-332EA673024E}" type="datetime'''''''''''''''''''''''''''''2''''''''''''''.''''''5%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C043978B-EED9-BAA6-39A0-BE4299587276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7807325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056DC-0CF7-4251-9EB1-FE20160AFD0B}" type="datetime'''''''''''''''''''''''''''''''W''''''''''''''''''''2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98677027-08D4-30A2-B5B0-EA75915E27B3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8520113" y="12906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9DF115-9025-466F-B4C3-D27D9CC8BCA3}" type="datetime'''''''4.''''''''''''''''''''''''''''''''''''''''1''''''''''%'">
              <a:rPr lang="zh-CN" altLang="en-US" sz="1000" smtClean="0">
                <a:effectLst/>
              </a:rPr>
              <a:pPr/>
              <a:t>4.1%</a:t>
            </a:fld>
            <a:endParaRPr lang="zh-CN" altLang="en-US" sz="1000" dirty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28C24FFA-D131-3B23-177A-FAB4026F4CF9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6176963" y="11969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CB5BD1-49AB-4941-9187-CAD1E78D6FEC}" type="datetime'''4''''''''''''''.''''''''''''''''''''''''''6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A399B73C-3189-8371-095A-DD64F2B86095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8518525" y="11557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E84EB0-055F-4E8A-99C8-B0CB18AEEB95}" type="datetime'''''''''''4''''''''''''''''''''''''.''''''''''''''''1''''''%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16EE6919-5B21-B31C-A29E-128D66615C52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8418513" y="18732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ACB2A-29B6-4385-8E66-251F92FBCAAE}" type="datetime'''''8''''''''''''''8''''''''''.''''''''''''''''8''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.8%</a:t>
            </a:fld>
            <a:endParaRPr lang="zh-CN" altLang="en-US" sz="10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EF6112FA-BBFB-D653-C607-AE767A436821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8483600" y="25400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37C50A-F481-4319-8230-511FD5299C43}" type="datetime'''''''''''''''3''.''''''''''''''0''''''''''''''''''%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933C3E6A-6D43-447E-5892-DEE72FA993BC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8701088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2A724-B954-49C2-898A-05C99E044D0F}" type="datetime'''''''W''''''''''''1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 useBgFill="1">
        <p:nvSpPr>
          <p:cNvPr id="89" name="Text Placeholder 2">
            <a:extLst>
              <a:ext uri="{FF2B5EF4-FFF2-40B4-BE49-F238E27FC236}">
                <a16:creationId xmlns:a16="http://schemas.microsoft.com/office/drawing/2014/main" id="{BCD012B6-18F9-A4AC-6894-77079B38FF96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5926137" y="7874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4EA604-AEE6-4FAE-957A-2E63FF182B5A}" type="datetime'''''1''''''''''''''''7''7''''7''''''''''''''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7</a:t>
            </a:fld>
            <a:endParaRPr kumimoji="1" lang="zh-CN" altLang="en-US" sz="140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CE51B25E-2712-26DA-1D31-CBCB5BB36BA6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6819900" y="42703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2A2450-8E71-45EB-B885-58AFF3E35929}" type="datetime'2''''''''''''''''''''''''''''''''1''''''''''7''''1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1</a:t>
            </a:fld>
            <a:endParaRPr kumimoji="1" lang="zh-CN" altLang="en-US" sz="1400" dirty="0"/>
          </a:p>
        </p:txBody>
      </p:sp>
      <p:sp useBgFill="1">
        <p:nvSpPr>
          <p:cNvPr id="91" name="Text Placeholder 2">
            <a:extLst>
              <a:ext uri="{FF2B5EF4-FFF2-40B4-BE49-F238E27FC236}">
                <a16:creationId xmlns:a16="http://schemas.microsoft.com/office/drawing/2014/main" id="{6734CA92-AFE0-65E1-5B07-FB4D9BDF629C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7715250" y="9048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94BEC3-7D5E-495A-A07B-9F6255DD884A}" type="datetime'''''''''''''''''1''''''''''''''''''6''''''''''5''0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0</a:t>
            </a:fld>
            <a:endParaRPr kumimoji="1" lang="zh-CN" altLang="en-US" sz="14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FA337A36-2186-E7A6-D356-D2498C073B16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8609013" y="9636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297CB9-11FB-4DC0-BAD0-1F6FE8366413}" type="datetime'''''''''''''''''1''''''''5''''85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85</a:t>
            </a:fld>
            <a:endParaRPr kumimoji="1" lang="zh-CN" altLang="en-US" sz="14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2916DF99-4760-60A7-44CB-16BB78D8D64E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6096000" y="110013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FA169F-D35B-4653-8C16-FCF645E38EB9}" type="datetime'''''''1''3''''.''''9''''''''''''%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13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03A96B1D-5E46-9C68-5A5F-1983A5D5618B}"/>
              </a:ext>
            </a:extLst>
          </p:cNvPr>
          <p:cNvSpPr txBox="1"/>
          <p:nvPr/>
        </p:nvSpPr>
        <p:spPr>
          <a:xfrm>
            <a:off x="4151996" y="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777680AF-DE2B-EA94-6A1C-FD53E1CE9D5D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71438" y="296703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2BE24EDE-4CFE-5352-3116-835A49BA8A2C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1185863" y="296703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6AEAE43E-7E80-167C-00EB-5BCA844484B7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2300288" y="296703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2E9F498A-49DB-08B6-CEDC-566B1E6C7DB8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3770313" y="296703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E64FA482-8730-5D1A-FC77-3A3CFB74E8B7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373063" y="29781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A5135B-6F7F-4AAC-9878-78C66F91FD2F}" type="datetime'''新''''''''''''''''''''''''签''年''''''''费'''''''''">
              <a:rPr kumimoji="1" lang="zh-CN" altLang="en-US" sz="1400" smtClean="0"/>
              <a:pPr/>
              <a:t>新签年费</a:t>
            </a:fld>
            <a:endParaRPr kumimoji="1" lang="zh-CN" altLang="en-US" sz="14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7E09921D-9FF1-8DB1-2972-6086124CA366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1487488" y="29781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4097BA-0358-46DE-82E7-AE5D4ED031D9}" type="datetime'''续''''''签''年''''''''''''''''''''''''费'''''''''''''">
              <a:rPr kumimoji="1" lang="zh-CN" altLang="en-US" sz="1400" smtClean="0"/>
              <a:pPr/>
              <a:t>续签年费</a:t>
            </a:fld>
            <a:endParaRPr kumimoji="1" lang="zh-CN" altLang="en-US" sz="14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C942766D-06C9-6200-D245-8505DABFA687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2601913" y="297815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3C8A5F-01D0-4003-AAB4-EB98CEA55A30}" type="datetime'''广''''''''''''告现''''''金''''''收''入'''''''''''''''''''">
              <a:rPr kumimoji="1" lang="zh-CN" altLang="en-US" sz="1400" smtClean="0"/>
              <a:pPr/>
              <a:t>广告现金收入</a:t>
            </a:fld>
            <a:endParaRPr kumimoji="1" lang="zh-CN" altLang="en-US" sz="14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CA87A573-86CF-071F-FC7B-A7BD037957E6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4071938" y="297815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239BD8-713E-43B3-8CF6-BC65369A8881}" type="datetime'''品''''''''''''''''''牌''''''''''广''''''告''''''''''''''''''收入'">
              <a:rPr kumimoji="1" lang="zh-CN" altLang="en-US" sz="1400" smtClean="0"/>
              <a:pPr/>
              <a:t>品牌广告收入</a:t>
            </a:fld>
            <a:endParaRPr kumimoji="1" lang="zh-CN" altLang="en-US" sz="1400" dirty="0"/>
          </a:p>
        </p:txBody>
      </p:sp>
      <p:graphicFrame>
        <p:nvGraphicFramePr>
          <p:cNvPr id="308" name="Chart 3">
            <a:extLst>
              <a:ext uri="{FF2B5EF4-FFF2-40B4-BE49-F238E27FC236}">
                <a16:creationId xmlns:a16="http://schemas.microsoft.com/office/drawing/2014/main" id="{31916FE5-20CF-9580-1999-66D52150E71D}"/>
              </a:ext>
            </a:extLst>
          </p:cNvPr>
          <p:cNvGraphicFramePr/>
          <p:nvPr>
            <p:custDataLst>
              <p:tags r:id="rId88"/>
            </p:custDataLst>
            <p:extLst>
              <p:ext uri="{D42A27DB-BD31-4B8C-83A1-F6EECF244321}">
                <p14:modId xmlns:p14="http://schemas.microsoft.com/office/powerpoint/2010/main" val="2671446678"/>
              </p:ext>
            </p:extLst>
          </p:nvPr>
        </p:nvGraphicFramePr>
        <p:xfrm>
          <a:off x="168275" y="3514725"/>
          <a:ext cx="8936038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8"/>
          </a:graphicData>
        </a:graphic>
      </p:graphicFrame>
      <p:cxnSp>
        <p:nvCxnSpPr>
          <p:cNvPr id="254" name="直线连接符 253">
            <a:extLst>
              <a:ext uri="{FF2B5EF4-FFF2-40B4-BE49-F238E27FC236}">
                <a16:creationId xmlns:a16="http://schemas.microsoft.com/office/drawing/2014/main" id="{E2A70F1E-F2B4-B88C-A97A-2BCBC32DDFA2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auto">
          <a:xfrm>
            <a:off x="1895475" y="509270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FD435492-073A-2E55-20B8-03C0B1F78322}"/>
              </a:ext>
            </a:extLst>
          </p:cNvPr>
          <p:cNvCxnSpPr>
            <a:cxnSpLocks/>
          </p:cNvCxnSpPr>
          <p:nvPr>
            <p:custDataLst>
              <p:tags r:id="rId90"/>
            </p:custDataLst>
          </p:nvPr>
        </p:nvCxnSpPr>
        <p:spPr bwMode="auto">
          <a:xfrm>
            <a:off x="798513" y="52165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直线连接符 261">
            <a:extLst>
              <a:ext uri="{FF2B5EF4-FFF2-40B4-BE49-F238E27FC236}">
                <a16:creationId xmlns:a16="http://schemas.microsoft.com/office/drawing/2014/main" id="{CD608F8E-83A9-3E4E-9B6A-5A46EC4543FC}"/>
              </a:ext>
            </a:extLst>
          </p:cNvPr>
          <p:cNvCxnSpPr>
            <a:cxnSpLocks/>
          </p:cNvCxnSpPr>
          <p:nvPr>
            <p:custDataLst>
              <p:tags r:id="rId91"/>
            </p:custDataLst>
          </p:nvPr>
        </p:nvCxnSpPr>
        <p:spPr bwMode="auto">
          <a:xfrm flipV="1">
            <a:off x="6280150" y="5140325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直线连接符 301">
            <a:extLst>
              <a:ext uri="{FF2B5EF4-FFF2-40B4-BE49-F238E27FC236}">
                <a16:creationId xmlns:a16="http://schemas.microsoft.com/office/drawing/2014/main" id="{96192321-FD3C-0DDC-8D5C-A1FD7E1DA00D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>
            <a:off x="746125" y="5286375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直线连接符 258">
            <a:extLst>
              <a:ext uri="{FF2B5EF4-FFF2-40B4-BE49-F238E27FC236}">
                <a16:creationId xmlns:a16="http://schemas.microsoft.com/office/drawing/2014/main" id="{D9A42EFE-9005-3FF2-D738-6672A74CF73B}"/>
              </a:ext>
            </a:extLst>
          </p:cNvPr>
          <p:cNvCxnSpPr>
            <a:cxnSpLocks/>
          </p:cNvCxnSpPr>
          <p:nvPr>
            <p:custDataLst>
              <p:tags r:id="rId93"/>
            </p:custDataLst>
          </p:nvPr>
        </p:nvCxnSpPr>
        <p:spPr bwMode="auto">
          <a:xfrm>
            <a:off x="5184775" y="57372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直线连接符 255">
            <a:extLst>
              <a:ext uri="{FF2B5EF4-FFF2-40B4-BE49-F238E27FC236}">
                <a16:creationId xmlns:a16="http://schemas.microsoft.com/office/drawing/2014/main" id="{5BE3F134-2EBA-1028-94F4-76BEF54CA10F}"/>
              </a:ext>
            </a:extLst>
          </p:cNvPr>
          <p:cNvCxnSpPr>
            <a:cxnSpLocks/>
          </p:cNvCxnSpPr>
          <p:nvPr>
            <p:custDataLst>
              <p:tags r:id="rId94"/>
            </p:custDataLst>
          </p:nvPr>
        </p:nvCxnSpPr>
        <p:spPr bwMode="auto">
          <a:xfrm>
            <a:off x="1843088" y="5207000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93581956-E8A8-DE34-2DCA-0A02A674FD4A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3878263" y="63436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391F7B-2EB5-4222-9552-126C36E46084}" type="datetime'''''F''Y2''''''''''''''''''''''''''''''''''7Q1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281" name="Text Placeholder 2">
            <a:extLst>
              <a:ext uri="{FF2B5EF4-FFF2-40B4-BE49-F238E27FC236}">
                <a16:creationId xmlns:a16="http://schemas.microsoft.com/office/drawing/2014/main" id="{14650A16-D802-3E48-A2DD-FB5D5531EEFF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620713" y="50800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53C4CC-7CB3-4631-9E40-40B573493398}" type="datetime'''''''''''''''''''''''''''''''3''''''5''.''0''''''%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E35E65EB-9D16-2BCE-2C40-14B8E4CE3A5B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1717675" y="4733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9A7471-B989-4B37-BB23-7EC3FB842B0C}" type="datetime'''''''''''''''''''5''''''''''''''''''''9''''''.''8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8%</a:t>
            </a:fld>
            <a:endParaRPr lang="zh-CN" altLang="en-US" sz="1000" b="1" dirty="0"/>
          </a:p>
        </p:txBody>
      </p:sp>
      <p:sp useBgFill="1">
        <p:nvSpPr>
          <p:cNvPr id="284" name="Text Placeholder 2">
            <a:extLst>
              <a:ext uri="{FF2B5EF4-FFF2-40B4-BE49-F238E27FC236}">
                <a16:creationId xmlns:a16="http://schemas.microsoft.com/office/drawing/2014/main" id="{C0662E1B-8435-D7C2-1304-5F484734BFB3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487488" y="51387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608DF5B-0993-4F0D-B1C4-22F74615024D}" type="datetime'''''''''''''''''''''''''''''''''''''''''''''''''39''''.''4''%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9.4%</a:t>
            </a:fld>
            <a:endParaRPr lang="zh-CN" altLang="en-US" sz="1000" b="1" dirty="0"/>
          </a:p>
        </p:txBody>
      </p:sp>
      <p:sp useBgFill="1">
        <p:nvSpPr>
          <p:cNvPr id="241" name="Text Placeholder 2">
            <a:extLst>
              <a:ext uri="{FF2B5EF4-FFF2-40B4-BE49-F238E27FC236}">
                <a16:creationId xmlns:a16="http://schemas.microsoft.com/office/drawing/2014/main" id="{08035911-28B4-E33E-3BEF-8F4A28EEFF5C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1717675" y="49561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9E3535-9C8E-49C7-AF56-DFAA27413BA8}" type="datetime'''''43''''''''''''''''''''''''''.''''9''''''''''''''''%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BAFC65B3-A3E3-7052-DDB6-5A39D275ADD3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1685925" y="63436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58074E-544D-4F64-99B0-5E63688508FC}" type="datetime'''''F''''''''Y''2''''''6''Q''''''''''''''''''''''''''3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D252708B-ABD2-2155-CEE4-12DB074F9CE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2813050" y="49085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D4DD44-7F40-4657-A7AE-94F3F5F31913}" type="datetime'''4''''''''7''''''.''''3''''''''''''''''''''''''''%''''''''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795AF313-F90D-3DC1-B99D-EF6224F48AA5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2781300" y="3408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01A247-0186-452F-A5C6-A9E54121BB07}" type="datetime'''''''''''''''''''1''''''''''''''''''''''''''''54.8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4.8%</a:t>
            </a:fld>
            <a:endParaRPr lang="zh-CN" altLang="en-US" sz="1000" b="1" dirty="0"/>
          </a:p>
        </p:txBody>
      </p:sp>
      <p:sp useBgFill="1">
        <p:nvSpPr>
          <p:cNvPr id="287" name="Text Placeholder 2">
            <a:extLst>
              <a:ext uri="{FF2B5EF4-FFF2-40B4-BE49-F238E27FC236}">
                <a16:creationId xmlns:a16="http://schemas.microsoft.com/office/drawing/2014/main" id="{C9CC4E25-CBA7-0AEF-B0DD-182E759329E9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2846388" y="5497513"/>
            <a:ext cx="290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2ADFB2-70EC-4C68-9EEE-D8DF84846B50}" type="datetime'''''''''''''''5''''''''''''''''''.''''''''''''''''''''1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1%</a:t>
            </a:fld>
            <a:endParaRPr lang="zh-CN" altLang="en-US" sz="1000" b="1" dirty="0"/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37CD6033-F67A-182D-6BDC-45E73A9C36F3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2813050" y="53292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C94FBF-EBE5-4690-8CB6-3198BDDDF279}" type="datetime'''3''4''''''.''''''6''%''''''''''''''''''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6%</a:t>
            </a:fld>
            <a:endParaRPr lang="zh-CN" altLang="en-US" sz="1000" b="1" dirty="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1B9C9CAC-DDC8-D2B0-29AB-3AE49A146E00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2781300" y="63436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4ACC08-0BC5-442C-B107-C1C07641D5A9}" type="datetime'''''''''''''FY''''''''''2''''6Q''''''''''''''''4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 useBgFill="1">
        <p:nvSpPr>
          <p:cNvPr id="288" name="Text Placeholder 2">
            <a:extLst>
              <a:ext uri="{FF2B5EF4-FFF2-40B4-BE49-F238E27FC236}">
                <a16:creationId xmlns:a16="http://schemas.microsoft.com/office/drawing/2014/main" id="{9EF091A3-3FCA-D144-D749-60CBB70055DA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3910013" y="49974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7DDCC8-7EB7-4C81-866A-E259850A03BE}" type="datetime'''4''''''''0''''.''''''''9''''''''''''''''''''''%''''''''''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89" name="Text Placeholder 2">
            <a:extLst>
              <a:ext uri="{FF2B5EF4-FFF2-40B4-BE49-F238E27FC236}">
                <a16:creationId xmlns:a16="http://schemas.microsoft.com/office/drawing/2014/main" id="{DCDAF403-661D-0023-6CB2-A2431BAF7EF7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3910013" y="43910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FF5B78-806D-4B6B-B91E-056D712D7AF4}" type="datetime'''8''''''4''''''''''''.''''''''''''''3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.3%</a:t>
            </a:fld>
            <a:endParaRPr lang="zh-CN" altLang="en-US" sz="1000" b="1" dirty="0"/>
          </a:p>
        </p:txBody>
      </p:sp>
      <p:sp useBgFill="1">
        <p:nvSpPr>
          <p:cNvPr id="244" name="Text Placeholder 2">
            <a:extLst>
              <a:ext uri="{FF2B5EF4-FFF2-40B4-BE49-F238E27FC236}">
                <a16:creationId xmlns:a16="http://schemas.microsoft.com/office/drawing/2014/main" id="{07ACF48C-1951-2DBB-517F-23BAA3619833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3910013" y="46561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849D2F-70D6-432E-8936-2D147648EF23}" type="datetime'''''''6''''''''''5''''''.4''''''''''''''''''%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4%</a:t>
            </a:fld>
            <a:endParaRPr lang="zh-CN" altLang="en-US" sz="1000" b="1" dirty="0"/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34811A8F-AE94-CBBE-6ADE-09E907B69A94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3856038" y="54197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F8A5F8-BED1-41C5-BF95-E8C8567F1EB0}" type="datetime'''2''7''''''''''''''.''''''7''''''''''''''''''''''%''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7.7%</a:t>
            </a:fld>
            <a:endParaRPr lang="zh-CN" altLang="en-US" sz="1000" b="1" dirty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743D1E60-34D4-C1D9-42F8-207F9107F301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588963" y="63436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C9650-9BFF-4E76-9973-CE3C166C11F0}" type="datetime'''''''''''''''''FY''''''''''2''6Q2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 useBgFill="1">
        <p:nvSpPr>
          <p:cNvPr id="290" name="Text Placeholder 2">
            <a:extLst>
              <a:ext uri="{FF2B5EF4-FFF2-40B4-BE49-F238E27FC236}">
                <a16:creationId xmlns:a16="http://schemas.microsoft.com/office/drawing/2014/main" id="{C390DB54-4750-E224-EFB1-9D8FCA9D0751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5021263" y="5600700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01FBF9-9882-4076-9A2C-82438D46338E}" type="datetime'''''''''-''''''''2.''''''''''''''''''''''''4''''''''%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4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56D52D8E-0E18-6CF7-0B1F-FB4A6C63462D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566738" y="53752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C5B2F5-5B17-4A2F-8F37-D94EF4C37539}" type="datetime'''''''''''''3''''''1''.''''0''''''''''''''%''''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0%</a:t>
            </a:fld>
            <a:endParaRPr lang="zh-CN" altLang="en-US" sz="1000" b="1" dirty="0"/>
          </a:p>
        </p:txBody>
      </p:sp>
      <p:sp useBgFill="1">
        <p:nvSpPr>
          <p:cNvPr id="246" name="Text Placeholder 2">
            <a:extLst>
              <a:ext uri="{FF2B5EF4-FFF2-40B4-BE49-F238E27FC236}">
                <a16:creationId xmlns:a16="http://schemas.microsoft.com/office/drawing/2014/main" id="{E48142F7-E0E9-1934-F396-59F199D4EB03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5238750" y="5964238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798CAB-A522-4ADD-8BE5-4E558117EF1E}" type="datetime'''''''''''''-''''''1''''9.7''''''''''''%''''''''''''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19.7%</a:t>
            </a:fld>
            <a:endParaRPr lang="zh-CN" altLang="en-US" sz="1000" b="1" dirty="0"/>
          </a:p>
        </p:txBody>
      </p:sp>
      <p:sp useBgFill="1">
        <p:nvSpPr>
          <p:cNvPr id="247" name="Text Placeholder 2">
            <a:extLst>
              <a:ext uri="{FF2B5EF4-FFF2-40B4-BE49-F238E27FC236}">
                <a16:creationId xmlns:a16="http://schemas.microsoft.com/office/drawing/2014/main" id="{48777174-A543-E0E7-6196-281986F7A870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4987925" y="6111875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A026CD-D8D4-4130-B1DB-FB0EC485A326}" type="datetime'''''''''''-''''''3''''8''.9''''''''''''''''''''''''%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8.9%</a:t>
            </a:fld>
            <a:endParaRPr lang="zh-CN" altLang="en-US" sz="1000" b="1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7E7B781E-22AF-5BAC-F230-CEC2EA1EB485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5083175" y="6343650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5A3729-CD5D-4518-B062-5361E2A0E861}" type="datetime'''''''''''''''''''''''''''''''''''''''2''''''''''''月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248" name="Text Placeholder 2">
            <a:extLst>
              <a:ext uri="{FF2B5EF4-FFF2-40B4-BE49-F238E27FC236}">
                <a16:creationId xmlns:a16="http://schemas.microsoft.com/office/drawing/2014/main" id="{3354C39D-3212-34D5-F77B-BC41FCC5EF50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6102350" y="51800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BC3642-0650-459F-AF8B-38F3FCC8AD2E}" type="datetime'''''4''5''''''''''''''''''''''.2''''''''''''''''''''''''%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F6B228DD-159E-4D4E-9115-1EE5E054B6F3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390525" y="52181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153E8E-CF17-45A2-A589-8BCA3C74C790}" type="datetime'''3''3''.''''''''8''%''''''''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3.8%</a:t>
            </a:fld>
            <a:endParaRPr lang="zh-CN" altLang="en-US" sz="1000" b="1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2D9BF77A-1049-CB95-136F-9CC4E5F4730E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6070600" y="38020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37C44E-8D75-4177-9828-D5337696EBBD}" type="datetime'''1''''2''''''''''''''''''''''''''''6''''''''.''''''5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6.5%</a:t>
            </a:fld>
            <a:endParaRPr lang="zh-CN" altLang="en-US" sz="1000" b="1" dirty="0"/>
          </a:p>
        </p:txBody>
      </p:sp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850B35AD-B0F1-2FC5-823F-F76EA688B91C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gray">
          <a:xfrm>
            <a:off x="6102350" y="48466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2143AB-C470-440F-8271-236B04665737}" type="datetime'''''''''51''''''''''''''''''.''''''7''%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.7%</a:t>
            </a:fld>
            <a:endParaRPr lang="zh-CN" altLang="en-US" sz="10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3D1769F2-648F-06CE-D580-D16E854722DE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6102350" y="54165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43C541-53DD-488A-B973-FCB402D707E9}" type="datetime'''''''''''''2''''8''''''.3''''''''''''''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3%</a:t>
            </a:fld>
            <a:endParaRPr lang="zh-CN" altLang="en-US" sz="1000" b="1" dirty="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3818C3DB-BCAA-56CB-1CD3-AEB06F8D8902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6178550" y="6343650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A03EA6-5E42-4D51-B099-878D931355DA}" type="datetime'''''''''''''''''''''3''''''''''''''''''月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 useBgFill="1">
        <p:nvSpPr>
          <p:cNvPr id="295" name="Text Placeholder 2">
            <a:extLst>
              <a:ext uri="{FF2B5EF4-FFF2-40B4-BE49-F238E27FC236}">
                <a16:creationId xmlns:a16="http://schemas.microsoft.com/office/drawing/2014/main" id="{1ECB0083-C044-6D47-A655-AF8045A378A9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7431088" y="50323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CAF212-F146-4A23-BF09-4F8500F4CD82}" type="datetime'4''''''7.''''''1''''''''''''''''''''%''''''''''''''''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D557EDF4-70EF-75AC-0DE8-BD59856CE0A6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7167563" y="36671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5C5C90-5082-43B4-BC9A-6574B9496781}" type="datetime'''''1''''''3''''''''''''6''''''.3''''''''''''''''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6.3%</a:t>
            </a:fld>
            <a:endParaRPr lang="zh-CN" altLang="en-US" sz="1000" b="1" dirty="0"/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2D622E70-6E0D-DC09-D626-D59F8DB2A160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7199313" y="46863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20056B-E164-4D01-8A96-A61C9F1EF45A}" type="datetime'''''''''6''''3''.''''''''''''''''''''''1''''''''''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1%</a:t>
            </a:fld>
            <a:endParaRPr lang="zh-CN" altLang="en-US" sz="10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82618974-E59F-6D26-2935-543167AA11E9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gray">
          <a:xfrm>
            <a:off x="7199313" y="54149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6E48EF-2E63-4F55-B961-4859FCA4D8E7}" type="datetime'''2''''''''''8''''''.''''''''''4''''''''''''''''''%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4%</a:t>
            </a:fld>
            <a:endParaRPr lang="zh-CN" altLang="en-US" sz="1000" b="1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81C624C8-24DF-872C-B991-AA0C72E006CF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7275513" y="6343650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9F8193-4A97-4E7E-86AD-836BCBA7BC1D}" type="datetime'''''''''''''4''''''''''''''''''''''月''''''''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4262D030-3EDC-570A-C7B0-C626D0E588CC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8294688" y="51339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055BDC-286E-4407-AAC5-C5A0541F65B0}" type="datetime'3''1''''''''''''''.''''''''1''''''%''''''''''''''''''''''''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EA30C698-84A5-D32C-9DC3-4DE1729D6E1F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8026400" y="5938838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6DA320-98B8-4850-9768-F39B8204A717}" type="datetime'''''-1''''''''''''''''''''''''''7''''''''''''.''''''9''%''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7.9%</a:t>
            </a:fld>
            <a:endParaRPr lang="zh-CN" altLang="en-US" sz="1000" b="1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417C45F4-06D0-AB4F-6ECD-29B8948BBE76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gray">
          <a:xfrm>
            <a:off x="8294688" y="45878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D43FC8-E8C8-42AA-813A-BA33515B3B6E}" type="datetime'''''''''''''''''7''''0''''''''''''.''''''''''2''''''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2%</a:t>
            </a:fld>
            <a:endParaRPr lang="zh-CN" altLang="en-US" sz="1000" b="1" dirty="0"/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67032211-1DA3-349F-E1FB-712C177EB2D3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gray">
          <a:xfrm>
            <a:off x="8294688" y="54387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3C71E-494A-4104-A0E3-3062425DFD96}" type="datetime'''''26.''''''6''''''''''''''''''''''''''''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6%</a:t>
            </a:fld>
            <a:endParaRPr lang="zh-CN" altLang="en-US" sz="1000" b="1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B788AAEE-72C0-8691-146C-C687B5C75B89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auto">
          <a:xfrm>
            <a:off x="8262938" y="63436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B03B74-28B7-4952-A3C6-44A4F11D78C5}" type="datetime'''''''5''''''''月''''''''''m''''td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C66D3DE7-5CCE-31E4-9BF2-D2436A06C43E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gray">
          <a:xfrm>
            <a:off x="1717675" y="54038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5F2A9F-FD39-4FFB-8180-27C8902001D4}" type="datetime'''''''''''''''''''''''''2''''''9''''''''.''''2''''''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2%</a:t>
            </a:fld>
            <a:endParaRPr lang="zh-CN" altLang="en-US" sz="1000" b="1" dirty="0"/>
          </a:p>
        </p:txBody>
      </p:sp>
      <p:cxnSp>
        <p:nvCxnSpPr>
          <p:cNvPr id="272" name="直线连接符 271">
            <a:extLst>
              <a:ext uri="{FF2B5EF4-FFF2-40B4-BE49-F238E27FC236}">
                <a16:creationId xmlns:a16="http://schemas.microsoft.com/office/drawing/2014/main" id="{167CE2E6-2577-7A82-A7C2-701689D4587F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260350" y="6597650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线连接符 272">
            <a:extLst>
              <a:ext uri="{FF2B5EF4-FFF2-40B4-BE49-F238E27FC236}">
                <a16:creationId xmlns:a16="http://schemas.microsoft.com/office/drawing/2014/main" id="{6DB21E17-84F7-AFAF-D5D0-FCF26082CD8D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gray">
          <a:xfrm>
            <a:off x="1155700" y="6597650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线连接符 273">
            <a:extLst>
              <a:ext uri="{FF2B5EF4-FFF2-40B4-BE49-F238E27FC236}">
                <a16:creationId xmlns:a16="http://schemas.microsoft.com/office/drawing/2014/main" id="{F5BA1C88-264E-C617-3981-34EEABBE990C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>
            <a:off x="2178050" y="6597650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47A24F48-ACC6-9713-B4B9-3BF05B0531C9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>
            <a:off x="3200400" y="6597650"/>
            <a:ext cx="3429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D165197E-249D-CEAE-C468-D8CCD7460A65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auto">
          <a:xfrm>
            <a:off x="663575" y="6538913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05554A-1471-45EB-A99F-29329B6489FE}" type="datetime'''''''''''''总''''''收''''''''''入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B27BB91B-F446-F3FA-2575-D0A5AA18E897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auto">
          <a:xfrm>
            <a:off x="1558925" y="6538913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8930CB-F897-481A-983E-E65F979E743E}" type="datetime'''''新''''''签''''''''''''''''''''''''年''''''费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A172DBF5-3722-36CF-67A3-9CE897886441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2581275" y="6538913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349160-C240-418E-B6C3-FC197FFE4948}" type="datetime'''''''续''''''''签年''''''''''''费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AB662BC5-A816-6800-6CE1-E66D6072AE97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auto">
          <a:xfrm>
            <a:off x="3603625" y="6538913"/>
            <a:ext cx="762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18E2A5-397F-4DB2-A872-AA7CFB5D3325}" type="datetime'''''''''''''广''''''告''''现''''金''''''''''''''''收''''入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lang="zh-CN" altLang="en-US" sz="1000" b="1" dirty="0"/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5501B089-BC9B-F9FD-9958-56B8ACA99C01}"/>
              </a:ext>
            </a:extLst>
          </p:cNvPr>
          <p:cNvSpPr txBox="1"/>
          <p:nvPr/>
        </p:nvSpPr>
        <p:spPr>
          <a:xfrm>
            <a:off x="3502025" y="3206235"/>
            <a:ext cx="1719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分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529125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A6F22-818A-D621-3B60-37671AF7DD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5D4F246-D9A0-BD9F-F323-FB7CA20F465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1475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6" imgW="7772400" imgH="10058400" progId="TCLayout.ActiveDocument.1">
                  <p:embed/>
                </p:oleObj>
              </mc:Choice>
              <mc:Fallback>
                <p:oleObj name="think-cell 幻灯片" r:id="rId146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3DBFAD-8371-9459-D119-6B7481AA3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DE971455-F926-9A79-1F05-522A532B7EB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5503519"/>
              </p:ext>
            </p:extLst>
          </p:nvPr>
        </p:nvGraphicFramePr>
        <p:xfrm>
          <a:off x="166688" y="558800"/>
          <a:ext cx="2687637" cy="2154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8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EAE0DDD-D5BF-EB52-9AAB-8CFC6B1BF73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754188" y="18478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D6BB7A-88B6-4B73-81C6-17B8976AAC4E}" type="datetime'''''6''''1''.''''''''''4''''''''''''''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4%</a:t>
            </a:fld>
            <a:endParaRPr lang="zh-CN" altLang="en-US" sz="1000" dirty="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07C49B5-9EEC-767C-84AF-86E3C24FC3E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293688" y="18415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E80516-217C-44DA-B2A1-E603BB66B7A9}" type="datetime'''''6''''''''''8.''''''''''''''''''''''1''''''''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2FE6FD59-C402-EBA1-8365-CB0B772587F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93688" y="25225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2CBEEE-28B8-43B2-AF22-072F014428FF}" type="datetime'''''''''''''''''''4''''''''''''''''''.1''''''''''''''''''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3" name="文本占位符 2">
            <a:extLst>
              <a:ext uri="{FF2B5EF4-FFF2-40B4-BE49-F238E27FC236}">
                <a16:creationId xmlns:a16="http://schemas.microsoft.com/office/drawing/2014/main" id="{FB3E90B0-8EF8-F9CC-36C9-B7D812D1779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0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DA71F3-C2F7-4EC6-9603-2F87903E6212}" type="datetime'F''''Y''''''2''''6''''Q''''''''''''''''''''''''''2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5E6265F5-EDC5-88F5-C737-C7E63F8F7CA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14400" y="10937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27F89A-B34A-4E7B-8FF9-011BB9FF47D9}" type="datetime'''''2''3''''''''.''0''''''''''''''%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C428FE6-1341-E6EC-3242-908F9F71E99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941388" y="14144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4C6A03-7DF4-4218-BCD9-29AD498A93ED}" type="datetime'''''''''''''''''''''''''''''''''9.''4''''''''''''''''''%'">
              <a:rPr lang="zh-CN" altLang="en-US" sz="1000" smtClean="0">
                <a:effectLst/>
              </a:rPr>
              <a:pPr/>
              <a:t>9.4%</a:t>
            </a:fld>
            <a:endParaRPr lang="zh-CN" altLang="en-US" sz="10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BCA525A1-DAC3-75D2-51C4-D418E82ADAB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14400" y="1957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F9586F-8E04-4DC8-8233-9123B8EEDFB0}" type="datetime'''''''6''''''''2''.2%''''''''''''''''''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2%</a:t>
            </a:fld>
            <a:endParaRPr lang="zh-CN" altLang="en-US" sz="1000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B7BC82C3-07BE-3CFE-0BC9-D6DEE458801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947738" y="25177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1212A6-6CB4-4FCD-B38B-8EE4F09C2006}" type="datetime'''''''''''''''''''5''''''''''''''''''.''4''''''''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6C73484C-709A-075D-7320-6225D7E209A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841375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22877-E6CE-4235-9D21-5721A984A319}" type="datetime'''''''''F''''''Y2''''''6''Q''''''''3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FD6BFCC-1AFF-82EF-C6AE-1D5F8805A8F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754188" y="8175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505EA9-1961-4D9B-818C-FBC502DA35BB}" type="datetime'''''''''''''2''''''''''''''4''''''.''6''''''%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A904EB5-93AF-DEAE-88D9-BBA40DBCDC4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781175" y="12096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B5E1A8-15FD-4138-8AD2-B751439660A0}" type="datetime'''''''''''''''''''''''''8''.''8''''''''''''''''''''''%'''">
              <a:rPr lang="zh-CN" altLang="en-US" sz="1000" smtClean="0">
                <a:effectLst/>
              </a:rPr>
              <a:pPr/>
              <a:t>8.8%</a:t>
            </a:fld>
            <a:endParaRPr lang="zh-CN" altLang="en-US" sz="1000" dirty="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6EB26DD0-A524-6DAF-1AAE-1D42958F513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41300" y="118745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0EE667-07C2-4276-BF20-8C4FEA469E2E}" type="datetime'1''''''''''''''''''''''''0''''''''''''''''.''''''''''''''0%'">
              <a:rPr lang="zh-CN" altLang="en-US" sz="1000" smtClean="0">
                <a:effectLst/>
              </a:rPr>
              <a:pPr/>
              <a:t>10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D84D7988-511C-56C7-CB3D-7AA30F79694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787525" y="25098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2857EB-F7DB-4329-877E-0112E5F02EA4}" type="datetime'''5''''''.''''''2''''''''''''''''''%''''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E9724C49-A1C2-0AE7-AA66-BBB49A5BD2A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681163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4C3D9-A40D-4191-8BB5-A3D20F8F5BD3}" type="datetime'''''''''F''Y''''''''''''2''6Q4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9BB035A-FA5F-A120-C180-EBAD9CC9BFAE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497138" y="145256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DB1EC3-8993-4D33-A67C-839A339C0D98}" type="datetime'''''''''1''7''''.''''''7''%''''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1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A9B0FCB-1219-F089-35B4-C7AABDD118E2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374900" y="16748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18B29B-0BBD-41CE-8216-2A09476A0537}" type="datetime'1''''''''''''''''''''''''1''''.''''''''''''''''''''''0''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0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5A991E0-8271-943E-9859-A48587938C93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374900" y="21304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E75D4A-689A-4FE5-9D5D-1189C50D20D2}" type="datetime'''6''8.''''''''''''''0%''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0%</a:t>
            </a:fld>
            <a:endParaRPr lang="zh-CN" altLang="en-US" sz="1000" dirty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E190C23B-D466-EBD5-A4C7-9A65C499B257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439988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361F09-0EC2-4629-9B2C-A930F67BE143}" type="datetime'''3''.''''''''''''''''''''''''''''''''''3''%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7F294B77-0020-52C7-FFEE-6B6595B0BB51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455863" y="2730500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91BB80-C331-4BCC-AC04-26BF98B7C418}" type="datetime'''''''''FY''''2''7''''''''''''Q''''1''''''''t''''''''''''d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A47D84CB-CAFA-DE05-2E9A-E87C6D5B9F2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42863" y="52863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18BAA4-B57C-44DE-8539-070E77260B84}" type="datetime'''''7''''''0''''''''''''''''43''''''''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4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47" name="Text Placeholder 2">
            <a:extLst>
              <a:ext uri="{FF2B5EF4-FFF2-40B4-BE49-F238E27FC236}">
                <a16:creationId xmlns:a16="http://schemas.microsoft.com/office/drawing/2014/main" id="{3322A8D3-3ACB-545F-9E53-B656E60F21B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884238" y="7572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A2E2D5-2D1E-4D55-8A23-8389CDA64FBF}" type="datetime'''''''''''''6''1''8''''''''''''''''''''8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88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3AAB00C-367C-FF6D-4E2A-155CCEC3973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724025" y="42703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95E6C0-985A-4E05-9AE8-84126ED19335}" type="datetime'''''''''''''''''7''''''''''''''''''''''''4''19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19</a:t>
            </a:fld>
            <a:endParaRPr kumimoji="1" lang="zh-CN" altLang="en-US" sz="1400" dirty="0"/>
          </a:p>
        </p:txBody>
      </p:sp>
      <p:sp useBgFill="1">
        <p:nvSpPr>
          <p:cNvPr id="49" name="Text Placeholder 2">
            <a:extLst>
              <a:ext uri="{FF2B5EF4-FFF2-40B4-BE49-F238E27FC236}">
                <a16:creationId xmlns:a16="http://schemas.microsoft.com/office/drawing/2014/main" id="{B6652A45-3132-27D2-BFE6-D3644BEBA2B7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498725" y="11620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092575-8567-4FA6-B1D6-ABC3D4DB4724}" type="datetime'''''''''''''''''''''''''4''''''''''3''''''''''''1''6'''">
              <a:rPr kumimoji="1" lang="zh-CN" altLang="en-US" sz="1400" smtClean="0"/>
              <a:pPr/>
              <a:t>4316</a:t>
            </a:fld>
            <a:endParaRPr kumimoji="1" lang="zh-CN" altLang="en-US" sz="1400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C7470350-B6E9-311D-6AAB-1E26B0F78393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93688" y="8413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FFA97C-7910-4830-B46E-76425E28961E}" type="datetime'''1''''''''7''''.''''''7''''''''''''''''''''%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A7D24EA0-964F-8835-D6FB-DE03A7147AD4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504109533"/>
              </p:ext>
            </p:extLst>
          </p:nvPr>
        </p:nvGraphicFramePr>
        <p:xfrm>
          <a:off x="3203575" y="474663"/>
          <a:ext cx="2555875" cy="2236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9"/>
          </a:graphicData>
        </a:graphic>
      </p:graphicFrame>
      <p:cxnSp>
        <p:nvCxnSpPr>
          <p:cNvPr id="6" name="直线连接符 5">
            <a:extLst>
              <a:ext uri="{FF2B5EF4-FFF2-40B4-BE49-F238E27FC236}">
                <a16:creationId xmlns:a16="http://schemas.microsoft.com/office/drawing/2014/main" id="{62774FA5-3ADF-63ED-A019-A3696DE5B7B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5568950" y="1963738"/>
            <a:ext cx="61913" cy="1238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5A603C94-E745-2CFD-5563-8442E956D649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4737100" y="25400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EDE441-9AB5-4777-9D6A-00F9FA97CA68}" type="datetime'''2''''''''.''''''''''''''''''''''6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57462AB9-FDE0-F1E3-9C9F-55E4697397E4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330575" y="25384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0E799E-9707-4490-96F4-267CFAB8B144}" type="datetime'''''6''''''''''''.''''''0''''''''''''''''''''''%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5" name="文本占位符 2">
            <a:extLst>
              <a:ext uri="{FF2B5EF4-FFF2-40B4-BE49-F238E27FC236}">
                <a16:creationId xmlns:a16="http://schemas.microsoft.com/office/drawing/2014/main" id="{FA7F9937-BA2A-AD9A-66E6-532D8D44D023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165475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D53362-F902-4663-9F48-B43317A43633}" type="datetime'''''''2''''月''''''''''''''''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A11C4AC-4B1A-00A0-8B73-1804D33C5E12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3921125" y="8048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25AB4C-92E8-4012-8FAD-499627F7257A}" type="datetime'2''''''5''''''.''''''''''''''''''''''''2%'">
              <a:rPr lang="zh-CN" altLang="en-US" sz="1000" smtClean="0">
                <a:solidFill>
                  <a:schemeClr val="bg1"/>
                </a:solidFill>
                <a:effectLst/>
              </a:rPr>
              <a:pPr/>
              <a:t>25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27D7A8DB-4F8E-B75A-4FA3-E8F61D92544C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3921125" y="12049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8A6BCD-BFEB-425F-962F-0C173D91AFE0}" type="datetime'''''7''''''.''''''''''9''''''''''''%'''">
              <a:rPr lang="zh-CN" altLang="en-US" sz="1000" smtClean="0">
                <a:effectLst/>
              </a:rPr>
              <a:pPr/>
              <a:t>7.9%</a:t>
            </a:fld>
            <a:endParaRPr lang="zh-CN" altLang="en-US" sz="10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0A90B585-402D-625D-CE11-720143980EE9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3906838" y="18319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3CC085-09D7-4499-BD98-2972A3FF48A7}" type="datetime'''''''''''63''''''''''''''''''''''.''''4''''''''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4%</a:t>
            </a:fld>
            <a:endParaRPr lang="zh-CN" altLang="en-US" sz="10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E341ED20-D81D-28A7-75AC-8ED6CA89BBC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3940175" y="25241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5974AB-BA67-432D-822E-34446AA4629A}" type="datetime'''''3''''''''''''''''''''''''''''''.5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9" name="文本占位符 2">
            <a:extLst>
              <a:ext uri="{FF2B5EF4-FFF2-40B4-BE49-F238E27FC236}">
                <a16:creationId xmlns:a16="http://schemas.microsoft.com/office/drawing/2014/main" id="{B10112CB-0D42-8000-9367-F60A73F5A5B9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3962400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B07B-4AA0-4CB3-AA54-68EFE864F777}" type="datetime'''''''''''''''3月''''''''''''''''''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16B0616-3979-7CEC-0A5F-74F1E66E673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4703763" y="112871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0D3580-A1BD-46CB-936A-66B1A298F315}" type="datetime'''''2''''''''0''''''''''''''''''''''''''.''''''''''''''''1%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37E1A45F-637F-AB86-A812-D2DFB27E7085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705350" y="149066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6B723A-00FD-47A3-B277-C79F937253C0}" type="datetime'''''''''''''''''''''''''''1''''''''''''''1''''.0''''''%'">
              <a:rPr lang="zh-CN" altLang="en-US" sz="1000" smtClean="0">
                <a:effectLst/>
              </a:rPr>
              <a:pPr/>
              <a:t>11.0%</a:t>
            </a:fld>
            <a:endParaRPr lang="zh-CN" altLang="en-US" sz="10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178CE40D-F11D-0DEF-0E2A-61B0206731B7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703763" y="1992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FBD6C1-82EE-4E8F-8666-36E97760754A}" type="datetime'''6''''6''''''''''.''''''''''''''''''2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2%</a:t>
            </a:fld>
            <a:endParaRPr lang="zh-CN" altLang="en-US" sz="10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868EF108-1250-3484-0BC0-53A1F28D5AC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330575" y="22812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456941-FA5D-4C59-B837-5C05BEEDF10E}" type="datetime'''6''''4''''''.''''''''''2''''''''''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63" name="文本占位符 2">
            <a:extLst>
              <a:ext uri="{FF2B5EF4-FFF2-40B4-BE49-F238E27FC236}">
                <a16:creationId xmlns:a16="http://schemas.microsoft.com/office/drawing/2014/main" id="{44C98A71-8251-9966-557C-E0DF953D7A50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4759325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50F975-10B2-4AAC-9014-1E61891621B9}" type="datetime'4''月''''''''''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2104EC0-4B50-87F0-5E4A-262CD7294F93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414963" y="187325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4028A6-75D1-4CCA-B991-EBEEAAED7C44}" type="datetime'''''''''''''1''''''''''''3''''.''''''''4''''''''''''''''%'">
              <a:rPr lang="zh-CN" altLang="en-US" sz="1000" smtClean="0">
                <a:solidFill>
                  <a:schemeClr val="bg1"/>
                </a:solidFill>
                <a:effectLst/>
              </a:rPr>
              <a:pPr/>
              <a:t>13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A2DE44C1-B7B9-8E11-CCAB-D7824B5B0CF7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391150" y="20875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638A85-BC4B-4FBF-BC4F-1DEED9BFB1F5}" type="datetime'''''''''''''''6''''.''''4''''%'''''''''''">
              <a:rPr lang="zh-CN" altLang="en-US" sz="1000" smtClean="0"/>
              <a:pPr/>
              <a:t>6.4%</a:t>
            </a:fld>
            <a:endParaRPr lang="zh-CN" altLang="en-US" sz="100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A2165936-A880-DF80-9CD6-9845DFA8529C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280025" y="22383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4F8463-296F-438A-962A-CEA0A08EDEA2}" type="datetime'''''''''75''''''.''''''''''''''''''''''5%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.5%</a:t>
            </a:fld>
            <a:endParaRPr lang="zh-CN" altLang="en-US" sz="10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D4CE8E26-24EC-D934-CFD5-9E10E795EA8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345113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0B1755-D816-4E07-B93D-7BF50E99999A}" type="datetime'''4''''''''''''''.''''''7%''''''''''''''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0B6CDC20-4976-9101-B123-DA9C6C20A28A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5427663" y="2730500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E985A-8BAB-4E19-9E7A-60C0EC744830}" type="datetime'''5月''''''''''''m''''''''''''''''''''''td''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68" name="Text Placeholder 2">
            <a:extLst>
              <a:ext uri="{FF2B5EF4-FFF2-40B4-BE49-F238E27FC236}">
                <a16:creationId xmlns:a16="http://schemas.microsoft.com/office/drawing/2014/main" id="{2187AC51-3F87-D6D8-B41A-9803A24AA1FF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089275" y="16176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7A75BC-ADEA-479D-8F66-3FEB7C7E6626}" type="datetime'''''''''''1''''''29''9'''''''''''''''''''''''">
              <a:rPr kumimoji="1" lang="zh-CN" altLang="en-US" sz="1400" smtClean="0">
                <a:effectLst/>
              </a:rPr>
              <a:pPr/>
              <a:t>1299</a:t>
            </a:fld>
            <a:endParaRPr kumimoji="1" lang="zh-CN" altLang="en-US" sz="1400" dirty="0"/>
          </a:p>
        </p:txBody>
      </p:sp>
      <p:sp useBgFill="1">
        <p:nvSpPr>
          <p:cNvPr id="69" name="Text Placeholder 2">
            <a:extLst>
              <a:ext uri="{FF2B5EF4-FFF2-40B4-BE49-F238E27FC236}">
                <a16:creationId xmlns:a16="http://schemas.microsoft.com/office/drawing/2014/main" id="{D3DF0B07-A5A9-8F0E-4BF8-40E6B8E48DA1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3867150" y="4270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0681DF-E7EE-4CD8-B49E-25F16F4A94BC}" type="datetime'''''''3''''''''''''''''''''''6''''''''''6''''''''0'''''''">
              <a:rPr kumimoji="1" lang="zh-CN" altLang="en-US" sz="1400" smtClean="0">
                <a:effectLst/>
              </a:rPr>
              <a:pPr/>
              <a:t>366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70" name="Text Placeholder 2">
            <a:extLst>
              <a:ext uri="{FF2B5EF4-FFF2-40B4-BE49-F238E27FC236}">
                <a16:creationId xmlns:a16="http://schemas.microsoft.com/office/drawing/2014/main" id="{E9A4C1B0-3DDF-FCA2-8DBF-B0FBE52FDF18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4673600" y="8239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9B4573-4124-4F0F-8E23-F2B6BBBDBC28}" type="datetime'''''''''''''''2''''''''''''''''''''81''2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12</a:t>
            </a:fld>
            <a:endParaRPr kumimoji="1" lang="zh-CN" altLang="en-US" sz="1400" dirty="0"/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id="{5070E0DD-0484-C524-78B0-C573C2EAC6C8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470525" y="16557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1400" dirty="0"/>
              <a:t>1344</a:t>
            </a:r>
            <a:endParaRPr kumimoji="1" lang="zh-CN" altLang="en-US" sz="14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2C87040-EC2B-C7B4-C366-2115680B12BB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3201988" y="20669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EB2EF0-F0D5-48B1-9D02-369CC3F9ED05}" type="datetime'''9''.''''''''''''9''''''''''''%'''''">
              <a:rPr lang="zh-CN" altLang="en-US" sz="1000" smtClean="0">
                <a:effectLst/>
              </a:rPr>
              <a:pPr/>
              <a:t>9.9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19D406F8-B060-2C5A-C90A-8A700DFF4D26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3206750" y="185578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66C525-73C6-4F0A-B3C0-19859279F71F}" type="datetime'''''1''9.''9''''''''''''''%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19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22" name="Chart 3">
            <a:extLst>
              <a:ext uri="{FF2B5EF4-FFF2-40B4-BE49-F238E27FC236}">
                <a16:creationId xmlns:a16="http://schemas.microsoft.com/office/drawing/2014/main" id="{4663521A-FE7F-D242-BE67-B04F04BDD8AB}"/>
              </a:ext>
            </a:extLst>
          </p:cNvPr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2842275246"/>
              </p:ext>
            </p:extLst>
          </p:nvPr>
        </p:nvGraphicFramePr>
        <p:xfrm>
          <a:off x="6003925" y="558800"/>
          <a:ext cx="2938463" cy="215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0"/>
          </a:graphicData>
        </a:graphic>
      </p:graphicFrame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06A2F889-09B9-5AEC-4C78-0F5679BCF1C2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7759700" y="18764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5105AA-DB71-4BF1-8474-6D24C2493B89}" type="datetime'''''''''''''''''7''''''6.''8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8%</a:t>
            </a:fld>
            <a:endParaRPr lang="zh-CN" altLang="en-US" sz="1000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8874EA-ECD3-88EF-94C1-3D0771CD1667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6130925" y="1906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0DAE30-E714-4375-A0A5-44E312D8A84E}" type="datetime'6''''''''''''''''2''''''''''''.''''''''''''''''3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73B63E0E-B048-D77D-AA40-8A899AD15149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130925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0A32D0-0643-4B67-AB60-D3D00A0B6552}" type="datetime'1''''.''''8%''''''''''''''''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5C7C0A2F-4616-393E-92C0-20752DA7F655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5972175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C270F-5F81-4AFF-B219-EE765A1A38F8}" type="datetime'''''''''''''''''''''W''''''''''''''''''''''''''''''''4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A021613-FDED-9410-D2DB-F70B7A323690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6870700" y="10572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699B116-592D-417E-AA76-898220C4DAFA}" type="datetime'''''''''''''''''''2''''''''8''.''''''4''''''''%'''''''''''">
              <a:rPr lang="zh-CN" altLang="en-US" sz="1000" smtClean="0">
                <a:solidFill>
                  <a:schemeClr val="bg1"/>
                </a:solidFill>
              </a:rPr>
              <a:pPr/>
              <a:t>28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DF4ECC26-BA49-C1F7-98EA-B849644B9120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851650" y="147002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B2B5E7-ACDA-4B11-8854-71590CBA34C3}" type="datetime'''''''''''''1''1''''''.''''5''%'''''''''''''''''''''''''''">
              <a:rPr lang="zh-CN" altLang="en-US" sz="1000" smtClean="0">
                <a:effectLst/>
              </a:rPr>
              <a:pPr/>
              <a:t>11.5%</a:t>
            </a:fld>
            <a:endParaRPr lang="zh-CN" altLang="en-US" sz="10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66E6F26-BD1F-45CB-7E5D-22EEE00B9BBA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6834188" y="19446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A93968-99D9-42D9-A404-692EA63E725A}" type="datetime'''5''5''''''.''''''''''3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.3%</a:t>
            </a:fld>
            <a:endParaRPr lang="zh-CN" altLang="en-US" sz="10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38D01D3C-7928-E66F-935F-91842188EA6A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6867525" y="25146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5736B2-894E-4007-A892-4FD0888AF74A}" type="datetime'''4.''8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7C41ACC1-5866-5F8E-141E-D63DA9B8059C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6896100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43F66-5765-43A8-AD20-C0BF2ADCE597}" type="datetime'''''''''''''''W''''''''''''''''''''''''''3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B6F8F48B-4A6E-707D-3236-C823517E843B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7791450" y="113030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F71600-A247-4644-9BBC-2C1166B701FB}" type="datetime'''''''1''''''''''''''3''''''''''.''''''''''6''''''%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13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278C7D8-B50E-AEC3-7910-70FD2D425D9C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7761288" y="13350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03ED88-5A46-4B18-A1AA-0D4916AE2D68}" type="datetime'''''''''''5''.''''''''''''''2''''''''''''''''%'''''''''''''">
              <a:rPr lang="zh-CN" altLang="en-US" sz="1000" smtClean="0">
                <a:effectLst/>
              </a:rPr>
              <a:pPr/>
              <a:t>5.2%</a:t>
            </a:fld>
            <a:endParaRPr lang="zh-CN" altLang="en-US" sz="1000" dirty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3BE35C82-E8D9-7A55-D2B9-84C8AEB0F21A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6130925" y="11303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802CA3-5346-492A-A57C-F413AA2F601D}" type="datetime'''''''''15''''.''''''''8''''''''''''%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8%</a:t>
            </a:fld>
            <a:endParaRPr lang="zh-CN" altLang="en-US" sz="1000" dirty="0"/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20ACE0DF-BDF2-9B91-36C3-2F7B520B73DA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7793038" y="25257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B540EA-14AA-426E-841B-D5B0E2C5A686}" type="datetime'''4''''''''''''''''''.''''''''''''4''''%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DB7D16CD-F207-38A6-CE3D-04717FF4E54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7821613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056DC-0CF7-4251-9EB1-FE20160AFD0B}" type="datetime'''''''''''''''''''''''''''''''W''''''''''''''''''''2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59CB95A8-0FB3-019A-C020-9A791791AB2F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8462963" y="9699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F333A7-B323-4D24-BDB4-6582B3CE40B5}" type="datetime'''''''''''''''''''''''''''1''''''''''''''5.''''''''4''''''%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92CA074F-A2CD-EC17-5206-562B2BCA852B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8562975" y="11382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B2D6C5-F0DA-49FF-8310-81FF00AC6FA9}" type="datetime'''9''''''''''''.''''''''2''''''''''%'''''''''''''''''''''''''">
              <a:rPr lang="zh-CN" altLang="en-US" sz="1000" smtClean="0">
                <a:effectLst/>
              </a:rPr>
              <a:pPr/>
              <a:t>9.2%</a:t>
            </a:fld>
            <a:endParaRPr lang="zh-CN" altLang="en-US" sz="10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BAAE74D8-1066-7899-A8F7-8821A36D4220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8462963" y="1885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CD4771-5C9F-40FF-9F0B-FEE94B6B5C24}" type="datetime'''''''''''''7''2''.''''5%''''''''''''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5%</a:t>
            </a:fld>
            <a:endParaRPr lang="zh-CN" altLang="en-US" sz="10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2264EA73-474A-2ED7-2BB9-9EE1E3EB7AA9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8528050" y="25352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1737A9-E57C-4669-8802-150D652684C8}" type="datetime'''''''''2''''''.''''''9''''''''''''''''''''''''''''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3E7CF5C8-D107-1066-173B-D631806CF9A5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8745538" y="27305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2A724-B954-49C2-898A-05C99E044D0F}" type="datetime'''''''W''''''''''''1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ED0D367F-F8B6-845B-FFB5-E5F6221B8EFB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5926138" y="427038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9C471C-7BD4-4AA1-8CA3-942F432AE7B3}" type="datetime'''''''6''''''9''''''1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1</a:t>
            </a:fld>
            <a:endParaRPr kumimoji="1" lang="zh-CN" altLang="en-US" sz="140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FA67E875-C942-9600-FF63-F8EE2528D890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6850063" y="515938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D2F15F-FE98-4899-85A9-7627A9BEE947}" type="datetime'''''''''''6''''''''''''''''''''''''6''''''''''0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0</a:t>
            </a:fld>
            <a:endParaRPr kumimoji="1" lang="zh-CN" altLang="en-US" sz="1400" dirty="0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15A83AD8-9D8E-BF5C-FC7F-8EFBA827573C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7775575" y="8175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7ED3F1-A9FD-4658-93B2-0101EBC66510}" type="datetime'''''''''55''''6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6</a:t>
            </a:fld>
            <a:endParaRPr kumimoji="1" lang="zh-CN" altLang="en-US" sz="14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D484CEEF-AE7A-EFC4-99C6-ECE11C2A1290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8699500" y="6905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9155F5-2790-4536-A728-1A3ABAE3DCCE}" type="datetime'''6''''0''''''0''''''''''''''''''''''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kumimoji="1" lang="zh-CN" altLang="en-US" sz="14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CBF63D3-EAE8-4BB4-D16C-F5BDC05D521B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6049963" y="82550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E1A08F-2C04-4E92-82DB-D0BFFB156B17}" type="datetime'2''''''''''''''''''''''''0''''''''''.1''''''%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27321B58-E193-788D-12AD-D6A8B426C51F}"/>
              </a:ext>
            </a:extLst>
          </p:cNvPr>
          <p:cNvSpPr txBox="1"/>
          <p:nvPr/>
        </p:nvSpPr>
        <p:spPr>
          <a:xfrm>
            <a:off x="4151996" y="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EBAC5A08-BAB6-F9D0-D621-4855ECBB7C76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71438" y="296703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B7672763-E15F-3A48-2C16-0D53EC38EEBE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1185863" y="296703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84A58FCD-14E2-9B71-915E-98ED2BFC5B70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2300288" y="296703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CE918901-2E62-097B-CA67-4D1A1A3AA06F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3770313" y="296703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FB4F4E0E-890A-7A57-1DC0-5AD81C43E5A2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373063" y="29781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A5135B-6F7F-4AAC-9878-78C66F91FD2F}" type="datetime'''新''''''''''''''''''''''''签''年''''''''费'''''''''">
              <a:rPr kumimoji="1" lang="zh-CN" altLang="en-US" sz="1400" smtClean="0"/>
              <a:pPr/>
              <a:t>新签年费</a:t>
            </a:fld>
            <a:endParaRPr kumimoji="1" lang="zh-CN" altLang="en-US" sz="14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69C824D0-DFED-06AD-9FBE-95A7735159AF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1487488" y="29781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4097BA-0358-46DE-82E7-AE5D4ED031D9}" type="datetime'''续''''''签''年''''''''''''''''''''''''费'''''''''''''">
              <a:rPr kumimoji="1" lang="zh-CN" altLang="en-US" sz="1400" smtClean="0"/>
              <a:pPr/>
              <a:t>续签年费</a:t>
            </a:fld>
            <a:endParaRPr kumimoji="1" lang="zh-CN" altLang="en-US" sz="14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FBDA3C71-2828-FA80-210A-2C0AABB0D2AB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2601913" y="297815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3C8A5F-01D0-4003-AAB4-EB98CEA55A30}" type="datetime'''广''''''''''''告现''''''金''''''收''入'''''''''''''''''''">
              <a:rPr kumimoji="1" lang="zh-CN" altLang="en-US" sz="1400" smtClean="0"/>
              <a:pPr/>
              <a:t>广告现金收入</a:t>
            </a:fld>
            <a:endParaRPr kumimoji="1" lang="zh-CN" altLang="en-US" sz="14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72E7D35B-9440-C104-F38E-D779A013AC5A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4071938" y="297815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239BD8-713E-43B3-8CF6-BC65369A8881}" type="datetime'''品''''''''''''''''''牌''''''''''广''''''告''''''''''''''''''收入'">
              <a:rPr kumimoji="1" lang="zh-CN" altLang="en-US" sz="1400" smtClean="0"/>
              <a:pPr/>
              <a:t>品牌广告收入</a:t>
            </a:fld>
            <a:endParaRPr kumimoji="1" lang="zh-CN" altLang="en-US" sz="1400" dirty="0"/>
          </a:p>
        </p:txBody>
      </p:sp>
      <p:graphicFrame>
        <p:nvGraphicFramePr>
          <p:cNvPr id="127" name="Chart 3">
            <a:extLst>
              <a:ext uri="{FF2B5EF4-FFF2-40B4-BE49-F238E27FC236}">
                <a16:creationId xmlns:a16="http://schemas.microsoft.com/office/drawing/2014/main" id="{EAFDC5D3-FF27-69D8-885B-39EDCD8F217C}"/>
              </a:ext>
            </a:extLst>
          </p:cNvPr>
          <p:cNvGraphicFramePr/>
          <p:nvPr>
            <p:custDataLst>
              <p:tags r:id="rId86"/>
            </p:custDataLst>
            <p:extLst>
              <p:ext uri="{D42A27DB-BD31-4B8C-83A1-F6EECF244321}">
                <p14:modId xmlns:p14="http://schemas.microsoft.com/office/powerpoint/2010/main" val="3633765862"/>
              </p:ext>
            </p:extLst>
          </p:nvPr>
        </p:nvGraphicFramePr>
        <p:xfrm>
          <a:off x="168275" y="3325813"/>
          <a:ext cx="8936038" cy="3013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1"/>
          </a:graphicData>
        </a:graphic>
      </p:graphicFrame>
      <p:cxnSp>
        <p:nvCxnSpPr>
          <p:cNvPr id="259" name="直线连接符 258">
            <a:extLst>
              <a:ext uri="{FF2B5EF4-FFF2-40B4-BE49-F238E27FC236}">
                <a16:creationId xmlns:a16="http://schemas.microsoft.com/office/drawing/2014/main" id="{3A5FF481-E6BC-5745-37BB-19DD16F250B9}"/>
              </a:ext>
            </a:extLst>
          </p:cNvPr>
          <p:cNvCxnSpPr>
            <a:cxnSpLocks/>
          </p:cNvCxnSpPr>
          <p:nvPr>
            <p:custDataLst>
              <p:tags r:id="rId87"/>
            </p:custDataLst>
          </p:nvPr>
        </p:nvCxnSpPr>
        <p:spPr bwMode="auto">
          <a:xfrm>
            <a:off x="5132388" y="6148388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直线连接符 99">
            <a:extLst>
              <a:ext uri="{FF2B5EF4-FFF2-40B4-BE49-F238E27FC236}">
                <a16:creationId xmlns:a16="http://schemas.microsoft.com/office/drawing/2014/main" id="{1E5A09B5-EE66-9773-512F-210044A79176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4087813" y="49720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线连接符 122">
            <a:extLst>
              <a:ext uri="{FF2B5EF4-FFF2-40B4-BE49-F238E27FC236}">
                <a16:creationId xmlns:a16="http://schemas.microsoft.com/office/drawing/2014/main" id="{4EB18FE3-CD22-5FB3-5373-CB2475642484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8472488" y="512127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线连接符 23">
            <a:extLst>
              <a:ext uri="{FF2B5EF4-FFF2-40B4-BE49-F238E27FC236}">
                <a16:creationId xmlns:a16="http://schemas.microsoft.com/office/drawing/2014/main" id="{51DFD90B-AF38-6B9B-09D3-6B35136D7216}"/>
              </a:ext>
            </a:extLst>
          </p:cNvPr>
          <p:cNvCxnSpPr>
            <a:cxnSpLocks/>
          </p:cNvCxnSpPr>
          <p:nvPr>
            <p:custDataLst>
              <p:tags r:id="rId90"/>
            </p:custDataLst>
          </p:nvPr>
        </p:nvCxnSpPr>
        <p:spPr bwMode="auto">
          <a:xfrm>
            <a:off x="798513" y="45323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线连接符 121">
            <a:extLst>
              <a:ext uri="{FF2B5EF4-FFF2-40B4-BE49-F238E27FC236}">
                <a16:creationId xmlns:a16="http://schemas.microsoft.com/office/drawing/2014/main" id="{607EB9B7-0233-DA1C-6781-45BE946C2B1A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8472488" y="513080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直线连接符 116">
            <a:extLst>
              <a:ext uri="{FF2B5EF4-FFF2-40B4-BE49-F238E27FC236}">
                <a16:creationId xmlns:a16="http://schemas.microsoft.com/office/drawing/2014/main" id="{F39998D6-F86E-E038-F7EC-9E879392C8E3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 flipV="1">
            <a:off x="7377113" y="4935538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线连接符 253">
            <a:extLst>
              <a:ext uri="{FF2B5EF4-FFF2-40B4-BE49-F238E27FC236}">
                <a16:creationId xmlns:a16="http://schemas.microsoft.com/office/drawing/2014/main" id="{E8256052-D2D5-A65C-037E-9FBE99A06C78}"/>
              </a:ext>
            </a:extLst>
          </p:cNvPr>
          <p:cNvCxnSpPr>
            <a:cxnSpLocks/>
          </p:cNvCxnSpPr>
          <p:nvPr>
            <p:custDataLst>
              <p:tags r:id="rId93"/>
            </p:custDataLst>
          </p:nvPr>
        </p:nvCxnSpPr>
        <p:spPr bwMode="auto">
          <a:xfrm flipH="1">
            <a:off x="1909763" y="484981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直线连接符 115">
            <a:extLst>
              <a:ext uri="{FF2B5EF4-FFF2-40B4-BE49-F238E27FC236}">
                <a16:creationId xmlns:a16="http://schemas.microsoft.com/office/drawing/2014/main" id="{8EBEA4F4-FC85-F54E-A45C-45AEFC11E645}"/>
              </a:ext>
            </a:extLst>
          </p:cNvPr>
          <p:cNvCxnSpPr>
            <a:cxnSpLocks/>
          </p:cNvCxnSpPr>
          <p:nvPr>
            <p:custDataLst>
              <p:tags r:id="rId94"/>
            </p:custDataLst>
          </p:nvPr>
        </p:nvCxnSpPr>
        <p:spPr bwMode="auto">
          <a:xfrm>
            <a:off x="7377113" y="489108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直线连接符 106">
            <a:extLst>
              <a:ext uri="{FF2B5EF4-FFF2-40B4-BE49-F238E27FC236}">
                <a16:creationId xmlns:a16="http://schemas.microsoft.com/office/drawing/2014/main" id="{1466EA8D-C88C-E683-B35B-AB9CC48F3301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 flipH="1">
            <a:off x="5199063" y="6248400"/>
            <a:ext cx="3968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681A748B-949B-B2CE-CF9D-7ED6E8570954}"/>
              </a:ext>
            </a:extLst>
          </p:cNvPr>
          <p:cNvCxnSpPr>
            <a:cxnSpLocks/>
          </p:cNvCxnSpPr>
          <p:nvPr>
            <p:custDataLst>
              <p:tags r:id="rId96"/>
            </p:custDataLst>
          </p:nvPr>
        </p:nvCxnSpPr>
        <p:spPr bwMode="auto">
          <a:xfrm flipV="1">
            <a:off x="798513" y="4605338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直线连接符 101">
            <a:extLst>
              <a:ext uri="{FF2B5EF4-FFF2-40B4-BE49-F238E27FC236}">
                <a16:creationId xmlns:a16="http://schemas.microsoft.com/office/drawing/2014/main" id="{5E1E0DB6-29CF-A8CA-5588-CD900C8F49D6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 flipV="1">
            <a:off x="4087813" y="5049838"/>
            <a:ext cx="0" cy="396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13FA5CAA-A4C0-393C-3B0E-8FBDC7E57D5E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390525" y="53324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3B4D45-78B0-454A-8FB3-26849CB353F1}" type="datetime'1''8.''''1''''''%'''''''''''''''">
              <a:rPr lang="zh-CN" altLang="en-US" sz="10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.1%</a:t>
            </a:fld>
            <a:endParaRPr lang="zh-CN" altLang="en-US" sz="1000" b="1" dirty="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7F5B6337-95C7-4B10-1852-7F2EAB117002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620713" y="46450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3D2072-6210-45EB-9EC8-FC192024C6A8}" type="datetime'''''''6''''''''''2''''''''''.''''''''''''''''''3%''''''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87" name="Text Placeholder 2">
            <a:extLst>
              <a:ext uri="{FF2B5EF4-FFF2-40B4-BE49-F238E27FC236}">
                <a16:creationId xmlns:a16="http://schemas.microsoft.com/office/drawing/2014/main" id="{65FA3E10-334A-0440-848E-9BB6D18103BD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3044825" y="50688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500C89-7D75-4D69-A80A-1CA43DC21DEB}" type="datetime'''3''''''''''''''''2''''''.''''''''''''''''5''''''''''''%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5%</a:t>
            </a:fld>
            <a:endParaRPr lang="zh-CN" altLang="en-US" sz="1000" b="1" dirty="0"/>
          </a:p>
        </p:txBody>
      </p:sp>
      <p:sp useBgFill="1">
        <p:nvSpPr>
          <p:cNvPr id="243" name="Text Placeholder 2">
            <a:extLst>
              <a:ext uri="{FF2B5EF4-FFF2-40B4-BE49-F238E27FC236}">
                <a16:creationId xmlns:a16="http://schemas.microsoft.com/office/drawing/2014/main" id="{B31801C9-D888-A9F7-BD76-E2E00D8D2C11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2582863" y="48926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7B5AD3-2667-4BED-8DC4-326076AECC12}" type="datetime'''''''42''''''''.''1''''''''''''''''''''''''''%'''">
              <a:rPr lang="zh-CN" altLang="en-US" sz="10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.1%</a:t>
            </a:fld>
            <a:endParaRPr lang="zh-CN" altLang="en-US" sz="1000" b="1" dirty="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E4061F3D-6B66-7EB2-0D6C-4B53DA42DB75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2781300" y="63436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4ACC08-0BC5-442C-B107-C1C07641D5A9}" type="datetime'''''''''''''FY''''''''''2''''6Q''''''''''''''''4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BCA5EC57-0BAD-190F-9611-981845562269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3910013" y="48355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1D008A-5330-46FB-A4AC-4FA175FBD4AA}" type="datetime'''''''''3''''8''''''''''''''''.6''''''%'''''''''''''''''">
              <a:rPr lang="zh-CN" altLang="en-US" sz="1000" b="1" smtClean="0">
                <a:solidFill>
                  <a:srgbClr val="000000"/>
                </a:solidFill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6%</a:t>
            </a:fld>
            <a:endParaRPr lang="zh-CN" altLang="en-US" sz="1000" b="1" dirty="0">
              <a:solidFill>
                <a:srgbClr val="000000"/>
              </a:solidFill>
              <a:ea typeface="等线" panose="02010600030101010101" pitchFamily="2" charset="-122"/>
            </a:endParaRPr>
          </a:p>
        </p:txBody>
      </p:sp>
      <p:sp useBgFill="1">
        <p:nvSpPr>
          <p:cNvPr id="285" name="Text Placeholder 2">
            <a:extLst>
              <a:ext uri="{FF2B5EF4-FFF2-40B4-BE49-F238E27FC236}">
                <a16:creationId xmlns:a16="http://schemas.microsoft.com/office/drawing/2014/main" id="{B226CC0E-8C25-13DE-7E77-C7CCE5E439B9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3044825" y="46482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E1A3E3E-4896-4CC6-94EE-5DFDF670125C}" type="datetime'5''''''''5''''.''''''''''4%'''''''">
              <a:rPr lang="zh-CN" altLang="en-US" sz="1000" b="1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5.4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89" name="Text Placeholder 2">
            <a:extLst>
              <a:ext uri="{FF2B5EF4-FFF2-40B4-BE49-F238E27FC236}">
                <a16:creationId xmlns:a16="http://schemas.microsoft.com/office/drawing/2014/main" id="{A4E4AFE0-31A6-DD43-87D6-5BA6AFBDAED9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3910013" y="52546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D9AF9E-EF87-49E5-8735-87C0BEDC6AA3}" type="datetime'''''''''''''''''''''''''1''5''.''''''''''''8%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8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DB9A611B-F373-44BC-AD59-E0EABB1CF68E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3910013" y="43878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0608AE-F7AB-47E8-B3D7-561694B0F155}" type="datetime'6''''''''''''''''''3''''''.''0''''''''''''''%''''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45" name="Text Placeholder 2">
            <a:extLst>
              <a:ext uri="{FF2B5EF4-FFF2-40B4-BE49-F238E27FC236}">
                <a16:creationId xmlns:a16="http://schemas.microsoft.com/office/drawing/2014/main" id="{710474B7-758C-7C99-529A-D520DD1678F7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3910013" y="50895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EA2858-9142-4E49-9197-209C73E6D902}" type="datetime'''3''''8''''''''''''''''''.''''''''''''''''''''''''0%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5E10483D-4802-92EB-0AF9-C1B2CBF3DD3E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1685925" y="63436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58074E-544D-4F64-99B0-5E63688508FC}" type="datetime'''''F''''''''Y''2''''''6''Q''''''''''''''''''''''''''3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14CF77E8-9529-BD6E-EDAE-46BA4A3F69E6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auto">
          <a:xfrm>
            <a:off x="3878263" y="63436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391F7B-2EB5-4222-9552-126C36E46084}" type="datetime'''''F''Y2''''''''''''''''''''''''''''''''''7Q1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290" name="Text Placeholder 2">
            <a:extLst>
              <a:ext uri="{FF2B5EF4-FFF2-40B4-BE49-F238E27FC236}">
                <a16:creationId xmlns:a16="http://schemas.microsoft.com/office/drawing/2014/main" id="{11F08603-767D-ABFA-E854-7B4960262640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4738688" y="6080125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F8AD0E2-3A0E-44BE-8641-776488491199}" type="datetime'''''''''''''''''''''-''''2''2''''''''''''''.''7''''%''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22.7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84" name="Text Placeholder 2">
            <a:extLst>
              <a:ext uri="{FF2B5EF4-FFF2-40B4-BE49-F238E27FC236}">
                <a16:creationId xmlns:a16="http://schemas.microsoft.com/office/drawing/2014/main" id="{1086DF73-8D09-C6A1-8A49-23412A2246D1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1487488" y="49164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A4044D-6738-4A70-89C7-46C8C01A1783}" type="datetime'''''''''''''''4''''''''0''''''''''''''''.''''8''''''%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.8%</a:t>
            </a:fld>
            <a:endParaRPr lang="zh-CN" altLang="en-US" sz="1000" b="1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017BA827-9B1A-155B-B6D9-8D64B9766019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5238750" y="6180138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395070-7652-47DE-A938-810D8599B0FC}" type="datetime'''''''''-''''''''2''''''''''''''''8''''.''''''1''%'''''''''''">
              <a:rPr lang="zh-CN" altLang="en-US" sz="1000" b="1" smtClean="0">
                <a:effectLst/>
              </a:rPr>
              <a:pPr/>
              <a:t>-28.1%</a:t>
            </a:fld>
            <a:endParaRPr lang="zh-CN" altLang="en-US" sz="1000" b="1" dirty="0"/>
          </a:p>
        </p:txBody>
      </p:sp>
      <p:sp useBgFill="1">
        <p:nvSpPr>
          <p:cNvPr id="283" name="Text Placeholder 2">
            <a:extLst>
              <a:ext uri="{FF2B5EF4-FFF2-40B4-BE49-F238E27FC236}">
                <a16:creationId xmlns:a16="http://schemas.microsoft.com/office/drawing/2014/main" id="{A1C26545-CD29-F12F-506C-D7BEB825D77F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1717675" y="45497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DEF3E6-7858-4482-95E5-31DC6D6300F3}" type="datetime'''''5''''''''''''''''''''''''''4''''''''.''''''''3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3%</a:t>
            </a:fld>
            <a:endParaRPr lang="zh-CN" altLang="en-US" sz="1000" b="1" dirty="0"/>
          </a:p>
        </p:txBody>
      </p:sp>
      <p:sp useBgFill="1">
        <p:nvSpPr>
          <p:cNvPr id="247" name="Text Placeholder 2">
            <a:extLst>
              <a:ext uri="{FF2B5EF4-FFF2-40B4-BE49-F238E27FC236}">
                <a16:creationId xmlns:a16="http://schemas.microsoft.com/office/drawing/2014/main" id="{1B915535-0DEF-22CF-FCA8-0FBA356EA31E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4987925" y="5873750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CF1675-FF7D-457D-9AC4-638EF1E929D5}" type="datetime'''''-1''''''''7''''.''''''9''''''''%''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7.9%</a:t>
            </a:fld>
            <a:endParaRPr lang="zh-CN" altLang="en-US" sz="1000" b="1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44710C74-F764-AB34-0C09-C726FAD5573F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5083175" y="6343650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5A3729-CD5D-4518-B062-5361E2A0E861}" type="datetime'''''''''''''''''''''''''''''''''''''''2''''''''''''月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248" name="Text Placeholder 2">
            <a:extLst>
              <a:ext uri="{FF2B5EF4-FFF2-40B4-BE49-F238E27FC236}">
                <a16:creationId xmlns:a16="http://schemas.microsoft.com/office/drawing/2014/main" id="{D352AC33-2576-6ECF-C178-C11CD99F0743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6102350" y="42068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298DC4-98AC-4D3F-8F64-D4222E7A0F4B}" type="datetime'''72''''''''''''''''''''.''''9''%''''''''''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46BA36EB-AA29-E930-9874-F524D552242D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6102350" y="38147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53EDFE-10EF-490E-8E05-4BF23BF9D935}" type="datetime'''''94''''''.''''''''''''''''3''''''''''%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.3%</a:t>
            </a:fld>
            <a:endParaRPr lang="zh-CN" altLang="en-US" sz="1000" b="1" dirty="0"/>
          </a:p>
        </p:txBody>
      </p:sp>
      <p:sp useBgFill="1">
        <p:nvSpPr>
          <p:cNvPr id="293" name="Text Placeholder 2">
            <a:extLst>
              <a:ext uri="{FF2B5EF4-FFF2-40B4-BE49-F238E27FC236}">
                <a16:creationId xmlns:a16="http://schemas.microsoft.com/office/drawing/2014/main" id="{F202FD95-747E-5C44-B75D-07207DE87F00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6102350" y="5340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707751-030A-436C-9FEA-3978B6787494}" type="datetime'''''''''''1''1''''''.''''''''''''''2''''''''''''''''%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2%</a:t>
            </a:fld>
            <a:endParaRPr lang="zh-CN" altLang="en-US" sz="1000" b="1" dirty="0"/>
          </a:p>
        </p:txBody>
      </p:sp>
      <p:sp useBgFill="1">
        <p:nvSpPr>
          <p:cNvPr id="294" name="Text Placeholder 2">
            <a:extLst>
              <a:ext uri="{FF2B5EF4-FFF2-40B4-BE49-F238E27FC236}">
                <a16:creationId xmlns:a16="http://schemas.microsoft.com/office/drawing/2014/main" id="{61875482-7247-3565-5F15-DDC279973C34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gray">
          <a:xfrm>
            <a:off x="6102350" y="45466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E77ABA-701C-4B61-B59B-308C42C700F6}" type="datetime'''67''.''''''''''6''''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6%</a:t>
            </a:fld>
            <a:endParaRPr lang="zh-CN" altLang="en-US" sz="1000" b="1" dirty="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CFA8098F-17A9-E95A-569A-92286C78DC60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6178550" y="6343650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A03EA6-5E42-4D51-B099-878D931355DA}" type="datetime'''''''''''''''''''''3''''''''''''''''''月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 useBgFill="1">
        <p:nvSpPr>
          <p:cNvPr id="295" name="Text Placeholder 2">
            <a:extLst>
              <a:ext uri="{FF2B5EF4-FFF2-40B4-BE49-F238E27FC236}">
                <a16:creationId xmlns:a16="http://schemas.microsoft.com/office/drawing/2014/main" id="{79835DBD-C14F-39B9-F711-E9B9BFCE4DE5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gray">
          <a:xfrm>
            <a:off x="7199313" y="47545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422DF2-0CCE-4AED-A1FB-AC2271DF813E}" type="datetime'4''''''''''''''3''''''.1''''''%''''''''''''''''''''''''''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D328A746-8294-BC96-5D5E-C6AA5D1C24E3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1717675" y="52054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B22972-A6D1-4844-ADA3-3F498FB81D77}" type="datetime'31''''''.''''''''7''''''''''''''''''''''''''''''''''''''%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7%</a:t>
            </a:fld>
            <a:endParaRPr lang="zh-CN" altLang="en-US" sz="1000" b="1" dirty="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FAB44E1C-1769-3FC4-7944-C2223D390E48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7199313" y="53927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FF7A59-2732-46C6-A4C1-0F21989D3CAF}" type="datetime'''''2''1''''''''''''''''.5''''''''%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.5%</a:t>
            </a:fld>
            <a:endParaRPr lang="zh-CN" altLang="en-US" sz="1000" b="1" dirty="0"/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84F6F0A1-9E6D-C8C9-9885-EC732172B733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7199313" y="41656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E4DF9E-C52C-46A0-A20E-933BDB9CF5CC}" type="datetime'''''''7''''''''''''''''''''5''''''''''''''''.''''''1%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.1%</a:t>
            </a:fld>
            <a:endParaRPr lang="zh-CN" altLang="en-US" sz="10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DD779D7F-2BF6-9E80-499E-863B63B6CAAC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gray">
          <a:xfrm>
            <a:off x="7199313" y="49752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90E73A-AD6C-40AB-AE87-7FF358EF45E1}" type="datetime'''''''''''''''''4''''4''''''''''''''''''.''2''''''''''''%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2%</a:t>
            </a:fld>
            <a:endParaRPr lang="zh-CN" altLang="en-US" sz="1000" b="1" dirty="0"/>
          </a:p>
        </p:txBody>
      </p:sp>
      <p:sp useBgFill="1">
        <p:nvSpPr>
          <p:cNvPr id="241" name="Text Placeholder 2">
            <a:extLst>
              <a:ext uri="{FF2B5EF4-FFF2-40B4-BE49-F238E27FC236}">
                <a16:creationId xmlns:a16="http://schemas.microsoft.com/office/drawing/2014/main" id="{9C6639D0-85F5-8C9C-F7DA-B6CD6B2B9549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gray">
          <a:xfrm>
            <a:off x="1949450" y="47815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06861B7-47FD-415E-AAEC-D15504C96573}" type="datetime'''''''''''''''4''''''''''''8''.''''''''''''''''''''''''''1''%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A47CF841-968F-BF9C-AF01-49E23B753801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7275513" y="6343650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9F8193-4A97-4E7E-86AD-836BCBA7BC1D}" type="datetime'''''''''''''4''''''''''''''''''''''月''''''''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 useBgFill="1">
        <p:nvSpPr>
          <p:cNvPr id="299" name="Text Placeholder 2">
            <a:extLst>
              <a:ext uri="{FF2B5EF4-FFF2-40B4-BE49-F238E27FC236}">
                <a16:creationId xmlns:a16="http://schemas.microsoft.com/office/drawing/2014/main" id="{1DA58D02-2864-6C51-275D-201B03CBCDA7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8294688" y="49942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084146-5A90-4A83-9C99-F296F7D4DEDA}" type="datetime'''''30''''''.''''''''''''''0''''''''''''''''''''''''''''%'''''">
              <a:rPr lang="zh-CN" altLang="en-US" sz="10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0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AFB1F4A6-20B0-975F-A6AA-28834EED99F5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auto">
          <a:xfrm>
            <a:off x="588963" y="63436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C9650-9BFF-4E76-9973-CE3C166C11F0}" type="datetime'''''''''''''''''FY''''''''''2''6Q2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 useBgFill="1">
        <p:nvSpPr>
          <p:cNvPr id="249" name="Text Placeholder 2">
            <a:extLst>
              <a:ext uri="{FF2B5EF4-FFF2-40B4-BE49-F238E27FC236}">
                <a16:creationId xmlns:a16="http://schemas.microsoft.com/office/drawing/2014/main" id="{28F959C6-67C1-367E-C24A-E125C58E9CEA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gray">
          <a:xfrm>
            <a:off x="8129588" y="5643563"/>
            <a:ext cx="290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5076C6-CD8F-4886-A208-BC78B43AE3EE}" type="datetime'1''''''''''.''''''''''''''''1''%''''''''''''''''''''''''''''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1%</a:t>
            </a:fld>
            <a:endParaRPr lang="zh-CN" altLang="en-US" sz="1000" b="1" dirty="0"/>
          </a:p>
        </p:txBody>
      </p:sp>
      <p:sp useBgFill="1">
        <p:nvSpPr>
          <p:cNvPr id="300" name="Text Placeholder 2">
            <a:extLst>
              <a:ext uri="{FF2B5EF4-FFF2-40B4-BE49-F238E27FC236}">
                <a16:creationId xmlns:a16="http://schemas.microsoft.com/office/drawing/2014/main" id="{F98F2AC2-072C-D6B8-9F47-64A1BB4851C2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gray">
          <a:xfrm>
            <a:off x="8294688" y="49847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446B3A-9488-4A15-9DAF-1DFAC07F3947}" type="datetime'3''''''''''''''''''''0''''.''''''''''''''5''''''''''''''%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5%</a:t>
            </a:fld>
            <a:endParaRPr lang="zh-CN" altLang="en-US" sz="10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44461751-DE97-88EC-EB5C-E061317F45CF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gray">
          <a:xfrm>
            <a:off x="620713" y="43957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050DE8-3283-4404-9D80-41ABE63C1952}" type="datetime'''''''''62''''.''''''''6''''''''''''''''''''''''''''''''%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6%</a:t>
            </a:fld>
            <a:endParaRPr lang="zh-CN" altLang="en-US" sz="1000" b="1" dirty="0"/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64CDDE14-80EB-670F-779B-DD5B85E35462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gray">
          <a:xfrm>
            <a:off x="8294688" y="52752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218EE4-FF3C-486B-AA8D-D76B2D0AD142}" type="datetime'''''''''''''''2''7''''''''.''9%''''''''''''''''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b="1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389A8C02-35B9-CF26-D087-5DC7B50E6FD6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auto">
          <a:xfrm>
            <a:off x="8262938" y="63436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B03B74-28B7-4952-A3C6-44A4F11D78C5}" type="datetime'''''''5''''''''月''''''''''m''''td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9A647355-2239-A074-5BF4-17755C36B24D}"/>
              </a:ext>
            </a:extLst>
          </p:cNvPr>
          <p:cNvSpPr txBox="1">
            <a:spLocks/>
          </p:cNvSpPr>
          <p:nvPr>
            <p:custDataLst>
              <p:tags r:id="rId135"/>
            </p:custDataLst>
          </p:nvPr>
        </p:nvSpPr>
        <p:spPr bwMode="gray">
          <a:xfrm>
            <a:off x="2813050" y="4278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1B809E-F01D-417F-9DB2-BBC6913649EE}" type="datetime'''6''''''''''''''''9''''.''''''''''''''0''''%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0%</a:t>
            </a:fld>
            <a:endParaRPr lang="zh-CN" altLang="en-US" sz="1000" b="1" dirty="0"/>
          </a:p>
        </p:txBody>
      </p:sp>
      <p:cxnSp>
        <p:nvCxnSpPr>
          <p:cNvPr id="272" name="直线连接符 271">
            <a:extLst>
              <a:ext uri="{FF2B5EF4-FFF2-40B4-BE49-F238E27FC236}">
                <a16:creationId xmlns:a16="http://schemas.microsoft.com/office/drawing/2014/main" id="{2F3BC0B6-9073-3C1D-C867-17323DA752EB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>
            <a:off x="260350" y="6597650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线连接符 272">
            <a:extLst>
              <a:ext uri="{FF2B5EF4-FFF2-40B4-BE49-F238E27FC236}">
                <a16:creationId xmlns:a16="http://schemas.microsoft.com/office/drawing/2014/main" id="{B9B0FED8-33F5-FAD5-1139-FA55AAC898B4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gray">
          <a:xfrm>
            <a:off x="1155700" y="6597650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线连接符 273">
            <a:extLst>
              <a:ext uri="{FF2B5EF4-FFF2-40B4-BE49-F238E27FC236}">
                <a16:creationId xmlns:a16="http://schemas.microsoft.com/office/drawing/2014/main" id="{F6B2DC97-28EE-71B7-E880-96F4A75D3574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gray">
          <a:xfrm>
            <a:off x="2178050" y="6597650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74EEE4D1-196D-4B73-D8B3-200EB77FF6D6}"/>
              </a:ext>
            </a:extLst>
          </p:cNvPr>
          <p:cNvCxnSpPr/>
          <p:nvPr>
            <p:custDataLst>
              <p:tags r:id="rId139"/>
            </p:custDataLst>
          </p:nvPr>
        </p:nvCxnSpPr>
        <p:spPr bwMode="gray">
          <a:xfrm>
            <a:off x="3200400" y="6597650"/>
            <a:ext cx="3429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ABE37836-8F0B-CB2F-5E8A-06FDE7AB29E7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auto">
          <a:xfrm>
            <a:off x="663575" y="6538913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05554A-1471-45EB-A99F-29329B6489FE}" type="datetime'''''''''''''总''''''收''''''''''入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C42EF719-EF13-CC39-B563-232B3A5E77C0}"/>
              </a:ext>
            </a:extLst>
          </p:cNvPr>
          <p:cNvSpPr txBox="1">
            <a:spLocks/>
          </p:cNvSpPr>
          <p:nvPr>
            <p:custDataLst>
              <p:tags r:id="rId141"/>
            </p:custDataLst>
          </p:nvPr>
        </p:nvSpPr>
        <p:spPr bwMode="auto">
          <a:xfrm>
            <a:off x="1558925" y="6538913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8930CB-F897-481A-983E-E65F979E743E}" type="datetime'''''新''''''签''''''''''''''''''''''''年''''''费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18808ED7-F3C7-A4C1-8EEC-1855D5179FF3}"/>
              </a:ext>
            </a:extLst>
          </p:cNvPr>
          <p:cNvSpPr txBox="1">
            <a:spLocks/>
          </p:cNvSpPr>
          <p:nvPr>
            <p:custDataLst>
              <p:tags r:id="rId142"/>
            </p:custDataLst>
          </p:nvPr>
        </p:nvSpPr>
        <p:spPr bwMode="auto">
          <a:xfrm>
            <a:off x="2581275" y="6538913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349160-C240-418E-B6C3-FC197FFE4948}" type="datetime'''''''续''''''''签年''''''''''''费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2E65939E-6BAB-A8E7-93BE-4793A630E40F}"/>
              </a:ext>
            </a:extLst>
          </p:cNvPr>
          <p:cNvSpPr txBox="1">
            <a:spLocks/>
          </p:cNvSpPr>
          <p:nvPr>
            <p:custDataLst>
              <p:tags r:id="rId143"/>
            </p:custDataLst>
          </p:nvPr>
        </p:nvSpPr>
        <p:spPr bwMode="auto">
          <a:xfrm>
            <a:off x="3603625" y="6538913"/>
            <a:ext cx="762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18E2A5-397F-4DB2-A872-AA7CFB5D3325}" type="datetime'''''''''''''广''''''告''''现''''金''''''''''''''''收''''入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lang="zh-CN" altLang="en-US" sz="1000" b="1" dirty="0"/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B09B616E-B6B1-9D6F-93CA-FF3B2637E9B4}"/>
              </a:ext>
            </a:extLst>
          </p:cNvPr>
          <p:cNvSpPr txBox="1"/>
          <p:nvPr/>
        </p:nvSpPr>
        <p:spPr>
          <a:xfrm>
            <a:off x="3603604" y="3234293"/>
            <a:ext cx="16764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分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4533070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B920E1-E84D-D807-C778-BD42485B4A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58AD1EA-0925-5B5A-4F78-C50E348732B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695140"/>
              </p:ext>
            </p:extLst>
          </p:nvPr>
        </p:nvGraphicFramePr>
        <p:xfrm>
          <a:off x="1192" y="85844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6" imgW="7772400" imgH="10058400" progId="TCLayout.ActiveDocument.1">
                  <p:embed/>
                </p:oleObj>
              </mc:Choice>
              <mc:Fallback>
                <p:oleObj name="think-cell 幻灯片" r:id="rId14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AD1EA-0925-5B5A-4F78-C50E348732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7"/>
                      <a:stretch>
                        <a:fillRect/>
                      </a:stretch>
                    </p:blipFill>
                    <p:spPr>
                      <a:xfrm>
                        <a:off x="1192" y="85844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Chart 3">
            <a:extLst>
              <a:ext uri="{FF2B5EF4-FFF2-40B4-BE49-F238E27FC236}">
                <a16:creationId xmlns:a16="http://schemas.microsoft.com/office/drawing/2014/main" id="{895C6CF2-1687-57C0-0BA0-C8E8E3AE8CC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398691"/>
              </p:ext>
            </p:extLst>
          </p:nvPr>
        </p:nvGraphicFramePr>
        <p:xfrm>
          <a:off x="168275" y="558800"/>
          <a:ext cx="2686050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8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FB635DC9-F137-B5EF-A5B8-D36913F8952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755775" y="16573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D5BE4E-EEAB-491E-8852-0AB5BD7F853A}" type="datetime'8''0.''''''''''''''''''''0''''%''''''''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.0%</a:t>
            </a:fld>
            <a:endParaRPr lang="zh-CN" altLang="en-US" sz="1000" dirty="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B003A30B-7748-D213-36B0-6D266374118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295275" y="16922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3C43FE-BA66-4744-AF42-5416B0B0895D}" type="datetime'''''''''''''''''''83''''''''.''''''''''''''''''''''''9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042339F-D22E-4080-F2D9-DE24471A0EB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95275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233D6D-E82D-4543-93E6-0245E94A71EF}" type="datetime'''''''''''''''''3''''''.''''''''''''''''7''''''%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5D54DD1D-C6DC-B18F-2A4B-4898F9176CE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588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5B43E-FF3A-44A5-B442-E5231B1ED2D0}" type="datetime'F''''Y''''''26''''''Q''''''''''''''''''2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39FD444-3250-571E-D2EB-7A950CF86CF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47738" y="6492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8F52A8-F620-45F4-9C4F-120EE77FCDBB}" type="datetime'''''7.''''''''''''5''''''''''''''''%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752133D-CBEC-91AD-B897-A81BE7BED37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962025" y="8524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E809A3B-236E-4B4A-833D-E28A35578243}" type="datetime'''''''''''''''''4''''''.''''''''''''''9''''''%''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9%</a:t>
            </a:fld>
            <a:endParaRPr lang="zh-CN" altLang="en-US" sz="10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17CBD186-B420-BAF0-89C2-5F57EDF9B99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14400" y="1644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DAAE1B-69BF-4DD4-92DB-9A3EE5EB8DA4}" type="datetime'''''''8''''''''''''1.''''''''9''''''''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.9%</a:t>
            </a:fld>
            <a:endParaRPr lang="zh-CN" altLang="en-US" sz="10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7863641-8E17-8D6A-AFD2-8E6078AA653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947738" y="25225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5F6E62-C9E1-4774-9AA2-DAC8AB1B4480}" type="datetime'5''''''''.''7''''''%''''''''''''''''''''''''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2B71A1EF-2616-C400-B260-B8BCDA8E4D9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841375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B8DFF9-5986-4DF6-AF49-BED4AD98254B}" type="datetime'''''''F''''''Y''''''''2''''''''''''6Q''''3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5C23823-E854-B47F-2403-00ECC5619C7C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789113" y="7032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5CDE97-A8C3-4064-941A-A2E2BAF0F50C}" type="datetime'''''''''''''''''''6''''''.''''''2''%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650333B-B112-72A3-3297-FBF4A0D2AC16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754188" y="9620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689AA63-5609-4F37-9DBA-FA224950BB0D}" type="datetime'''''6.''''''''''''''''''''''''''''2''%'''">
              <a:rPr lang="zh-CN" altLang="en-US" sz="1000" smtClean="0"/>
              <a:pPr/>
              <a:t>6.2%</a:t>
            </a:fld>
            <a:endParaRPr lang="zh-CN" altLang="en-US" sz="10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DBA15356-E21A-0539-F19B-27450F86C64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144463" y="9636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9B1DF92-2088-48A6-869E-EE9594B46EB1}" type="datetime'''4''''.''''''''''''''''''3''''''''%''''''''''''''''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379D144-919F-8373-A5BE-14CAB5FF975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789113" y="25066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C5EA7E-610A-4FE5-8E53-8556CD26197F}" type="datetime'''''''7.''''''''6%''''''''''''''''''''''''''''''''''''''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FA5A3D16-3557-F58A-2278-51561361B714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682750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5D22D7-9AA4-4819-944F-53D8B0B6271D}" type="datetime'''''''''''FY''''26''''''''''''''''''''''''''Q''''''''4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E2EA84C-5278-69B5-DE93-1E918E1B5782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439988" y="13874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DF29EE-4AEA-40F6-970D-AA6CFE715D72}" type="datetime'''''''6''''''''''''''''''''''''''''''''''''.4%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417EBD2-1496-1CFB-B30D-1B61F0BB0D22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439988" y="15859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86AFBA-0FE7-48CD-BDEF-0AC7D2F65E3B}" type="datetime'''5''''''''''''''''.3''''''''''''''''''''''''%'''''''''''''">
              <a:rPr lang="zh-CN" altLang="en-US" sz="1000" smtClean="0">
                <a:effectLst/>
              </a:rPr>
              <a:pPr/>
              <a:t>5.3%</a:t>
            </a:fld>
            <a:endParaRPr lang="zh-CN" altLang="en-US" sz="10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E6CE95A-03C9-8126-590B-49EDF3D1D5C9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374900" y="1992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D3E4E-37D2-4852-86DC-57693E7FDC7F}" type="datetime'''''''''''''''8''''1''''''''''''''''''.''1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.1%</a:t>
            </a:fld>
            <a:endParaRPr lang="zh-CN" altLang="en-US" sz="1000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545462B-3E93-BE32-13A9-38689CE3E76E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439988" y="25352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188AC6-2EAD-4AB7-85C2-BEB538D3AFB4}" type="datetime'''''''''''''7''''''.''''''''''2''''%''''''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7" name="文本占位符 2">
            <a:extLst>
              <a:ext uri="{FF2B5EF4-FFF2-40B4-BE49-F238E27FC236}">
                <a16:creationId xmlns:a16="http://schemas.microsoft.com/office/drawing/2014/main" id="{C839486F-3E40-18F2-8C1F-A8305F8BDD7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455863" y="2730500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0D27CB-1019-4CB7-AE72-17FE2C6847A8}" type="datetime'FY''''''''''''2''''''''''''''''7''''''''''''Q1''''''''td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FDC468DC-B9C4-C8A9-2972-921DF468A175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0" y="49212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835253-36E6-4F3E-A5AA-72935F59614F}" type="datetime'''''''''''''''''1''''7''''''''''''179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17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C34FFC0C-E58F-7CBA-19F5-E3CA04C0F05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839788" y="42703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AF0F56-8F3B-475E-BB93-65FF3AA96D93}" type="datetime'''''''''''1''''''''''''''''''''''7''7''''''''''''''''51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51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9874D8A-EFB4-5AE5-A95F-393CF5E6D6A8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681163" y="49688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CF3420-0544-4CD6-BA60-8C5647D1143C}" type="datetime'''1''7''''''1''''''''''''''''''''''39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139</a:t>
            </a:fld>
            <a:endParaRPr kumimoji="1" lang="zh-CN" altLang="en-US" sz="1400" dirty="0"/>
          </a:p>
        </p:txBody>
      </p:sp>
      <p:sp useBgFill="1">
        <p:nvSpPr>
          <p:cNvPr id="55" name="Text Placeholder 2">
            <a:extLst>
              <a:ext uri="{FF2B5EF4-FFF2-40B4-BE49-F238E27FC236}">
                <a16:creationId xmlns:a16="http://schemas.microsoft.com/office/drawing/2014/main" id="{4AF06CED-0B00-CC0F-BF1B-1713D304250D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520950" y="1201738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53E7BD-C7F7-417D-97B3-CC90679BCCC1}" type="datetime'''''''''''''''''''''''''''10''''''''''''8''''''''''''''''95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895</a:t>
            </a:fld>
            <a:endParaRPr kumimoji="1" lang="zh-CN" altLang="en-US" sz="14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16E922F3-B2E2-AA33-5B78-3C04DB80043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95275" y="7159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5495F8-59CA-403B-B793-3656CB392329}" type="datetime'''8''''''''''''''''''''.''''''''''''''0''''''''''%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.0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graphicFrame>
        <p:nvGraphicFramePr>
          <p:cNvPr id="152" name="Chart 3">
            <a:extLst>
              <a:ext uri="{FF2B5EF4-FFF2-40B4-BE49-F238E27FC236}">
                <a16:creationId xmlns:a16="http://schemas.microsoft.com/office/drawing/2014/main" id="{1757AC1C-DDA5-F83E-A37F-92240A10D8C0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44902405"/>
              </p:ext>
            </p:extLst>
          </p:nvPr>
        </p:nvGraphicFramePr>
        <p:xfrm>
          <a:off x="3213100" y="474663"/>
          <a:ext cx="2703513" cy="224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9"/>
          </a:graphicData>
        </a:graphic>
      </p:graphicFrame>
      <p:cxnSp>
        <p:nvCxnSpPr>
          <p:cNvPr id="633" name="直线连接符 632">
            <a:extLst>
              <a:ext uri="{FF2B5EF4-FFF2-40B4-BE49-F238E27FC236}">
                <a16:creationId xmlns:a16="http://schemas.microsoft.com/office/drawing/2014/main" id="{FC527945-FFA0-BBF8-9D37-188AC3C5B51E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4141788" y="625475"/>
            <a:ext cx="0" cy="127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线连接符 26">
            <a:extLst>
              <a:ext uri="{FF2B5EF4-FFF2-40B4-BE49-F238E27FC236}">
                <a16:creationId xmlns:a16="http://schemas.microsoft.com/office/drawing/2014/main" id="{98986988-150C-0BD0-2605-CBC71449622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H="1" flipV="1">
            <a:off x="3340099" y="1684338"/>
            <a:ext cx="6350" cy="177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EA8E2882-0D54-8976-6B00-86638CE6F8C0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4813300" y="10366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9C53F9B-8025-4E77-A50A-475D32A11F8B}" type="datetime'''5.''''''''9%'''">
              <a:rPr lang="zh-CN" altLang="en-US" sz="1000" smtClean="0"/>
              <a:pPr/>
              <a:t>5.9%</a:t>
            </a:fld>
            <a:endParaRPr lang="zh-CN" altLang="en-US" sz="10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8E0B8A-6498-EDEE-012B-9BC68FB87832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3340100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DE72D6-A262-4A29-A3E2-7711886E57CD}" type="datetime'''''''''6''''''''''.''3''''%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F1631037-5FCC-4476-6F74-F1D75F77FC4F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3175000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777A5B-4224-40C5-8F30-9D83689B8C49}" type="datetime'''''''''''2''''''''月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ADF42A09-B29C-0BBC-990F-358D031C2227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3995738" y="6381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4AA0B6D-5947-41C9-AB7F-BFE26DBB1D8C}" type="datetime'''''''''''''''6''.6''''''''''%''''''''''''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7A0747F1-DF6C-BF1F-58D0-31FAF1BBA250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3340100" y="21304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9BE0E2-0F7F-46B0-8F56-FE69F4E6AA55}" type="datetime'''''''''''''''8''''''3''.''''''''5''''''''%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.5%</a:t>
            </a:fld>
            <a:endParaRPr lang="zh-CN" altLang="en-US" sz="1000" dirty="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107AD70F-7ECA-C8A1-0603-98A2DD162611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3983038" y="8572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289F08-BBF1-4DE3-B54A-2591D36D99BA}" type="datetime'6''.8''''''%'''''''''''''''''''''''''''''''''''''''''''''">
              <a:rPr lang="zh-CN" altLang="en-US" sz="1000" smtClean="0"/>
              <a:pPr/>
              <a:t>6.8%</a:t>
            </a:fld>
            <a:endParaRPr lang="zh-CN" altLang="en-US" sz="1000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82B60AE0-AC9C-F037-83FC-CA890F98E741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3965575" y="1582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27A494-9001-42ED-9C59-2382348BE973}" type="datetime'7''''''''''''8''''''''''''''''''''.''4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4%</a:t>
            </a:fld>
            <a:endParaRPr lang="zh-CN" altLang="en-US" sz="10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0C4BEC05-F665-F0FE-2F42-9AF4D20F306F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3998913" y="248602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D84315-E021-4F45-9B1D-5E46C6A27C1B}" type="datetime'''''8''''.''''''3''''''''''''''''''''''''%''''''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AAF6A2B3-6275-6CDE-6E78-B61BE365F8CD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4021138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865874-E3F6-440D-991F-12FEF04A4902}" type="datetime'''''''''''''''''3''''''''''''月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42F4E59D-95D9-E434-2A69-7AAD932B9C1D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797425" y="8318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5582A8-6B54-431A-9081-788CD2833179}" type="datetime'''''''''7.''''''0''%''''''''''''''''''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7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A8429CAC-5CC3-B8A8-FD1F-BF64C06F40FE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340100" y="17224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257DF7-AF48-4D29-8D01-B92254456E94}" type="datetime'''''''''5''''''''''''''.''5''''''''''''%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5%</a:t>
            </a:fld>
            <a:endParaRPr lang="zh-CN" altLang="en-US" sz="1000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58B2AD37-FBF0-319F-A22B-D3F2FFA4A63F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4811713" y="17049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1A4396-DC23-40F9-92A3-F9B151D95BF6}" type="datetime'''''''''''''''79.''''''4%''''''''''''''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.4%</a:t>
            </a:fld>
            <a:endParaRPr lang="zh-CN" altLang="en-US" sz="100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4271BDC-B406-95C1-CB46-18A0D3E00F6E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4845050" y="250190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5D597A-C76C-41BC-B6FA-08F09FC235ED}" type="datetime'''''''''''7.''7%''''''''''''''''''''''''''''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C28FAEEA-10DF-7964-D724-35B56F94692A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4867275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214-2197-4257-96AB-67AEC7FA68FA}" type="datetime'''''4''''''''''''''''''''''''''''''''''''''''''''月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C057B764-AD8F-6276-D3E2-BD729228C42F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502275" y="15224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E1164F-CAD4-4E46-AC1E-645463283903}" type="datetime'''''''''''5''''''''''.''''''''''''''''2%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E864B302-E481-B47F-811E-A38AE9723DE3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535613" y="17541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60AAC8-51AD-4493-9B74-61DE0F9461FB}" type="datetime'''''''''''''''''''''4.''4''''%'''''''''''''''''''">
              <a:rPr lang="zh-CN" altLang="en-US" sz="1000" smtClean="0">
                <a:effectLst/>
              </a:rPr>
              <a:pPr/>
              <a:t>4.4%</a:t>
            </a:fld>
            <a:endParaRPr lang="zh-CN" altLang="en-US" sz="1000" dirty="0"/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594135EF-06FE-5AE9-EA38-C4A69C5426ED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5437188" y="20510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28F945-1E2D-45ED-A72B-37A2B0735F48}" type="datetime'''''''8''''''''''4''''''''''''''''''.''1''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.1%</a:t>
            </a:fld>
            <a:endParaRPr lang="zh-CN" altLang="en-US" sz="10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55CF042A-40B7-16B5-8B21-A9629E0A6E5A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5502275" y="25384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B65D64-E32F-4641-9075-B5E3A0DA83F6}" type="datetime'''''''6''''''''''''''.''''''3''''''%''''''''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7431FB19-1872-6BF7-D993-60497631DC6B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5646738" y="2730500"/>
            <a:ext cx="376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EA84DB-D424-49D2-A3A3-A30BE5E89C0E}" type="datetime'''''''5月''''''''''''''''''''''''''''''''td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td</a:t>
            </a:fld>
            <a:endParaRPr lang="zh-CN" altLang="en-US" sz="1200" b="1" dirty="0"/>
          </a:p>
        </p:txBody>
      </p:sp>
      <p:sp useBgFill="1">
        <p:nvSpPr>
          <p:cNvPr id="253" name="Text Placeholder 2">
            <a:extLst>
              <a:ext uri="{FF2B5EF4-FFF2-40B4-BE49-F238E27FC236}">
                <a16:creationId xmlns:a16="http://schemas.microsoft.com/office/drawing/2014/main" id="{09134B2F-D975-3145-D6B6-AEDBF0FC69BC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3089275" y="15065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A76040-DC51-4C16-8DB4-B47F58567ACD}" type="datetime'''''34''4''''''1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41</a:t>
            </a:fld>
            <a:endParaRPr kumimoji="1" lang="zh-CN" altLang="en-US" sz="1400" dirty="0"/>
          </a:p>
        </p:txBody>
      </p:sp>
      <p:sp useBgFill="1">
        <p:nvSpPr>
          <p:cNvPr id="254" name="Text Placeholder 2">
            <a:extLst>
              <a:ext uri="{FF2B5EF4-FFF2-40B4-BE49-F238E27FC236}">
                <a16:creationId xmlns:a16="http://schemas.microsoft.com/office/drawing/2014/main" id="{D8EA9052-57F7-91C4-8BEB-5E9348BC06EA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3925888" y="4270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66C44BF-DED8-47DC-81A1-76B2D608AD0A}" type="datetime'''''''''7''8''0''''''''''2'''''''''''''''''''''''''''''''''">
              <a:rPr kumimoji="1" lang="zh-CN" altLang="en-US" sz="1400" smtClean="0">
                <a:effectLst/>
              </a:rPr>
              <a:pPr/>
              <a:t>780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255" name="Text Placeholder 2">
            <a:extLst>
              <a:ext uri="{FF2B5EF4-FFF2-40B4-BE49-F238E27FC236}">
                <a16:creationId xmlns:a16="http://schemas.microsoft.com/office/drawing/2014/main" id="{88AE6FFE-A8D8-2AEA-D90B-A2DD2A4FD089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4781550" y="5953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BA550E-3F36-47BF-8EF6-BD050BD4F49F}" type="datetime'6''''''''''''''''''8''''''''''''''''''''5''''''''''''6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56</a:t>
            </a:fld>
            <a:endParaRPr kumimoji="1" lang="zh-CN" altLang="en-US" sz="1400" dirty="0"/>
          </a:p>
        </p:txBody>
      </p:sp>
      <p:sp useBgFill="1">
        <p:nvSpPr>
          <p:cNvPr id="256" name="Text Placeholder 2">
            <a:extLst>
              <a:ext uri="{FF2B5EF4-FFF2-40B4-BE49-F238E27FC236}">
                <a16:creationId xmlns:a16="http://schemas.microsoft.com/office/drawing/2014/main" id="{A5ACA043-9455-2A0F-61F3-4EC95D10CEC3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5627688" y="13477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23D582-FB11-44E0-AAEA-4785D9856E24}" type="datetime'''4''04''''''''''0''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40</a:t>
            </a:fld>
            <a:endParaRPr kumimoji="1" lang="zh-CN" altLang="en-US" sz="1400" dirty="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DC36B540-F379-FC60-44F3-3FC0A1965F42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3206750" y="1862138"/>
            <a:ext cx="287338" cy="1365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C2C5607-7D6F-4FAA-99CA-C76BC89C8283}" type="datetime'''''''''4''''''''''''.''''''''7%'''''''''''''''''''">
              <a:rPr lang="zh-CN" altLang="en-US" sz="1000" smtClean="0">
                <a:effectLst/>
              </a:rPr>
              <a:pPr/>
              <a:t>4.7%</a:t>
            </a:fld>
            <a:endParaRPr lang="zh-CN" altLang="en-US" sz="1000" dirty="0"/>
          </a:p>
        </p:txBody>
      </p:sp>
      <p:graphicFrame>
        <p:nvGraphicFramePr>
          <p:cNvPr id="153" name="Chart 3">
            <a:extLst>
              <a:ext uri="{FF2B5EF4-FFF2-40B4-BE49-F238E27FC236}">
                <a16:creationId xmlns:a16="http://schemas.microsoft.com/office/drawing/2014/main" id="{F180B39E-6EDC-5CA1-AB34-CF59D6A543B9}"/>
              </a:ext>
            </a:extLst>
          </p:cNvPr>
          <p:cNvGraphicFramePr/>
          <p:nvPr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2207521555"/>
              </p:ext>
            </p:extLst>
          </p:nvPr>
        </p:nvGraphicFramePr>
        <p:xfrm>
          <a:off x="6164263" y="558800"/>
          <a:ext cx="2733675" cy="216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0"/>
          </a:graphicData>
        </a:graphic>
      </p:graphicFrame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BDAF1C50-031B-A28E-59D0-3B09127C0628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7783513" y="1722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1A7678-12B2-41AD-964E-9B0C32A9193D}" type="datetime'''''''''''''''''''''8''''''8''''.5''''''''''''''''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.5%</a:t>
            </a:fld>
            <a:endParaRPr lang="zh-CN" altLang="en-US" sz="1000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5184CFCF-DB82-16F4-1BC7-FF7C327212DF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291263" y="17653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6ED766-37A9-4F57-9271-53CEFAAAC5EC}" type="datetime'''7''9''''.1''''''''''''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.1%</a:t>
            </a:fld>
            <a:endParaRPr lang="zh-CN" altLang="en-US" sz="10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3BD6B32D-D5EA-D551-A444-78C04AAD3341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6291263" y="25304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11122B-DE78-4E92-93FE-7D3F33B69191}" type="datetime'''''''''''''''''''''''''''''4''''''.''''4''''''%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86BFA5ED-E2AD-B990-904E-178143A1E5D6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6043613" y="27305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714D42-8C2F-450A-8C32-6C6BB0AA78EC}" type="datetime'''''''m''''4''''''''''''''''''''''w3''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E72117CB-9259-3189-BE36-20A0E50269B3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959600" y="6350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E1AF8A-D765-4271-98F4-20D9BE4948C0}" type="datetime'''''''''6''.''3''''''''''''%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56441F81-38CE-1624-B85A-33BD70BF1BDE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6943725" y="9207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31C39A-8288-46D8-9FA8-722F5DC95167}" type="datetime'''''''''''''''''6.''''''2''''''''''''''''''''''''''''''''%'''">
              <a:rPr lang="zh-CN" altLang="en-US" sz="1000" smtClean="0"/>
              <a:pPr/>
              <a:t>6.2%</a:t>
            </a:fld>
            <a:endParaRPr lang="zh-CN" altLang="en-US" sz="1000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D0A3D512-8F29-1F91-031A-4A8C17F0DC2A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6926263" y="15541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A020DD-9B8A-4A8C-8AD0-65E58B361A28}" type="datetime'''''''''7''''''''''3.''''''''''2''''''''''''%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2%</a:t>
            </a:fld>
            <a:endParaRPr lang="zh-CN" altLang="en-US" sz="1000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68692A3E-2FEC-AF76-BEAE-9EA93C878EE0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6926263" y="2428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9E0B70-0B3D-426E-A502-1C687E9731A0}" type="datetime'''1''''''''''''4''''''.''''''4''''''''''''''''''''''''''''%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C27210F8-B8C5-2765-D9C7-983DC8E1E983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6899275" y="27305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E2F8A2-A7BB-4536-A5AE-4E59507687A0}" type="datetime'''m''''4''''''''''''''''''''''''w''''''''''''''''''''4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25EC5A25-2B6B-34A0-3515-FDE32B43D0BE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7816850" y="8334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971B74-A2E6-493E-A22E-A0E5E6B65D9E}" type="datetime'''''''5''''''''''''''''''''''''''''.''5%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E58B1689-14B9-107F-A530-AD4FA0B0D5B0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7785100" y="10191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E111F5-00F7-41A3-AF67-3CE69DC07B05}" type="datetime'2''''''''''.''''''''''''''''''''''''''7''%'''''''''''''">
              <a:rPr lang="zh-CN" altLang="en-US" sz="1000" smtClean="0">
                <a:effectLst/>
              </a:rPr>
              <a:pPr/>
              <a:t>2.7%</a:t>
            </a:fld>
            <a:endParaRPr lang="zh-CN" altLang="en-US" sz="1000" dirty="0"/>
          </a:p>
        </p:txBody>
      </p:sp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D495B96D-9473-1457-802B-6C46608610A5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6224588" y="10334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DD891A-6365-4E84-9BF4-F6B911C3446F}" type="datetime'''8''''''''''''''''''''.7''%''''''''''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7%</a:t>
            </a:fld>
            <a:endParaRPr lang="zh-CN" altLang="en-US" sz="10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33EC556A-C014-3BC1-A438-CE68EDB7D3EA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7816850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E665AF-9779-40C3-B3FC-4A0866C0D45E}" type="datetime'''''3''''''''.''''''''''''2''''''''''''''''''''%'''''''''''">
              <a:rPr lang="zh-CN" altLang="en-US" sz="10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C18469C1-1178-B800-7926-998EA733C8A1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7756525" y="27305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CED561-7B63-4D77-8574-A41FAB975C23}" type="datetime'''m''5w''''''''''''''''1''''''''''''''''''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94C019F5-8C9B-A916-395E-60A13815521C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8483600" y="8937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9CBC63-E619-4F50-94A0-F0C313DC10D4}" type="datetime'''''''''''6''''.''''''''''''''''''''''''''''''0%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46C60522-CCCF-BFAC-8AB1-CFC578C19CF2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8496300" y="10763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3A0E30-801A-4EA0-A901-072ED49E366C}" type="datetime'''''''''''''4''''''''''''.''1''''''''''%'">
              <a:rPr lang="zh-CN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C4E5C134-793E-1030-322A-F5F23D4899D5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8418513" y="17668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9AD558-CB50-4A20-940C-74629BDE4ED1}" type="datetime'''''''''''8''''6.''''''7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7%</a:t>
            </a:fld>
            <a:endParaRPr lang="zh-CN" altLang="en-US" sz="10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B8DE6D2A-5B6F-A569-1F8B-E11C8633043A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8483600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0E2CBE-ECBF-4775-A294-C0D2AD25569F}" type="datetime'3''''''''''''''''.''''''2''''''''%'''">
              <a:rPr lang="zh-CN" altLang="en-US" sz="1000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01" name="文本占位符 2">
            <a:extLst>
              <a:ext uri="{FF2B5EF4-FFF2-40B4-BE49-F238E27FC236}">
                <a16:creationId xmlns:a16="http://schemas.microsoft.com/office/drawing/2014/main" id="{ABECE340-1E64-CC8E-6E22-1971AC438F99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auto">
          <a:xfrm>
            <a:off x="8612188" y="27305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7E4D87-DA58-491E-9EB5-68E931545977}" type="datetime'''''''''''''''''''''''''''''m''''5''''w''2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>
        <p:nvSpPr>
          <p:cNvPr id="302" name="Text Placeholder 2">
            <a:extLst>
              <a:ext uri="{FF2B5EF4-FFF2-40B4-BE49-F238E27FC236}">
                <a16:creationId xmlns:a16="http://schemas.microsoft.com/office/drawing/2014/main" id="{7D894B34-D29B-5160-4C3C-405917A9DCCC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6040438" y="59055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9A6997-8521-4C4C-8AB8-200854E7D6D1}" type="datetime'1''''''''''''''5''''''''''''''''5''8''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58</a:t>
            </a:fld>
            <a:endParaRPr kumimoji="1" lang="zh-CN" altLang="en-US" sz="1400" dirty="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2E2DFC2A-60C8-47ED-3F5B-C9C37DC1C0DE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6896100" y="42703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5DB197-20CE-431B-BC04-80161A89F01F}" type="datetime'1''''''6''9''''''''''7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7</a:t>
            </a:fld>
            <a:endParaRPr kumimoji="1" lang="zh-CN" altLang="en-US" sz="1400" dirty="0"/>
          </a:p>
        </p:txBody>
      </p:sp>
      <p:sp>
        <p:nvSpPr>
          <p:cNvPr id="304" name="Text Placeholder 2">
            <a:extLst>
              <a:ext uri="{FF2B5EF4-FFF2-40B4-BE49-F238E27FC236}">
                <a16:creationId xmlns:a16="http://schemas.microsoft.com/office/drawing/2014/main" id="{8E2B7268-73D5-B8E6-1088-74A74BCDB7DE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7753350" y="6381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3F9F30-5AF5-44BC-9F38-14416232A7CD}" type="datetime'''''1''5''''''''''''1''''''''''''''''''''''''''''8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18</a:t>
            </a:fld>
            <a:endParaRPr kumimoji="1" lang="zh-CN" altLang="en-US" sz="1400" dirty="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39FEBEB9-4B0B-69C2-2343-96419AF57F8D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8609013" y="6969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5E5E99-9DD8-4910-8211-7B434CB5BD7B}" type="datetime'1''''''''''4''''''''''''''6''''''''''''8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68</a:t>
            </a:fld>
            <a:endParaRPr kumimoji="1" lang="zh-CN" altLang="en-US" sz="1400" dirty="0"/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3BDB3C06-52E7-A5A6-7A10-5303276C32D6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6210300" y="8604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C5AB76-4F42-458D-B76A-90F4FCE5CFF1}" type="datetime'''''''''''''''7''''''''''''''''''''.8''''''''%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7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11" name="文本框 310">
            <a:extLst>
              <a:ext uri="{FF2B5EF4-FFF2-40B4-BE49-F238E27FC236}">
                <a16:creationId xmlns:a16="http://schemas.microsoft.com/office/drawing/2014/main" id="{4C3B1ABA-AE8D-4A48-2189-2A62B802AD28}"/>
              </a:ext>
            </a:extLst>
          </p:cNvPr>
          <p:cNvSpPr txBox="1"/>
          <p:nvPr/>
        </p:nvSpPr>
        <p:spPr>
          <a:xfrm>
            <a:off x="4151996" y="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直营</a:t>
            </a:r>
          </a:p>
        </p:txBody>
      </p:sp>
      <p:graphicFrame>
        <p:nvGraphicFramePr>
          <p:cNvPr id="634" name="Chart 3">
            <a:extLst>
              <a:ext uri="{FF2B5EF4-FFF2-40B4-BE49-F238E27FC236}">
                <a16:creationId xmlns:a16="http://schemas.microsoft.com/office/drawing/2014/main" id="{BD1D7319-4D80-7A4B-9D7A-9C16C9F7CD14}"/>
              </a:ext>
            </a:extLst>
          </p:cNvPr>
          <p:cNvGraphicFramePr/>
          <p:nvPr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825692283"/>
              </p:ext>
            </p:extLst>
          </p:nvPr>
        </p:nvGraphicFramePr>
        <p:xfrm>
          <a:off x="168275" y="3814763"/>
          <a:ext cx="8207375" cy="2779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1"/>
          </a:graphicData>
        </a:graphic>
      </p:graphicFrame>
      <p:cxnSp>
        <p:nvCxnSpPr>
          <p:cNvPr id="565" name="直线连接符 564">
            <a:extLst>
              <a:ext uri="{FF2B5EF4-FFF2-40B4-BE49-F238E27FC236}">
                <a16:creationId xmlns:a16="http://schemas.microsoft.com/office/drawing/2014/main" id="{B2736430-1990-CBBD-9308-65A1F8210BE9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 bwMode="auto">
          <a:xfrm>
            <a:off x="1758950" y="478948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9" name="直线连接符 558">
            <a:extLst>
              <a:ext uri="{FF2B5EF4-FFF2-40B4-BE49-F238E27FC236}">
                <a16:creationId xmlns:a16="http://schemas.microsoft.com/office/drawing/2014/main" id="{E47E8A29-85C3-7DDE-AC0B-458039496AB9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 bwMode="auto">
          <a:xfrm flipV="1">
            <a:off x="752475" y="4962525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2" name="直线连接符 581">
            <a:extLst>
              <a:ext uri="{FF2B5EF4-FFF2-40B4-BE49-F238E27FC236}">
                <a16:creationId xmlns:a16="http://schemas.microsoft.com/office/drawing/2014/main" id="{A06CEC3F-1883-A472-96BA-116B5D0864DD}"/>
              </a:ext>
            </a:extLst>
          </p:cNvPr>
          <p:cNvCxnSpPr>
            <a:cxnSpLocks/>
          </p:cNvCxnSpPr>
          <p:nvPr>
            <p:custDataLst>
              <p:tags r:id="rId82"/>
            </p:custDataLst>
          </p:nvPr>
        </p:nvCxnSpPr>
        <p:spPr bwMode="auto">
          <a:xfrm flipV="1">
            <a:off x="7789863" y="511175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8" name="直线连接符 627">
            <a:extLst>
              <a:ext uri="{FF2B5EF4-FFF2-40B4-BE49-F238E27FC236}">
                <a16:creationId xmlns:a16="http://schemas.microsoft.com/office/drawing/2014/main" id="{A989478B-2F1D-6573-4200-8615B46ABC37}"/>
              </a:ext>
            </a:extLst>
          </p:cNvPr>
          <p:cNvCxnSpPr>
            <a:cxnSpLocks/>
          </p:cNvCxnSpPr>
          <p:nvPr>
            <p:custDataLst>
              <p:tags r:id="rId83"/>
            </p:custDataLst>
          </p:nvPr>
        </p:nvCxnSpPr>
        <p:spPr bwMode="auto">
          <a:xfrm flipV="1">
            <a:off x="4773613" y="581660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1" name="直线连接符 560">
            <a:extLst>
              <a:ext uri="{FF2B5EF4-FFF2-40B4-BE49-F238E27FC236}">
                <a16:creationId xmlns:a16="http://schemas.microsoft.com/office/drawing/2014/main" id="{C36FB014-FF4A-DBE9-09DD-185F6354586F}"/>
              </a:ext>
            </a:extLst>
          </p:cNvPr>
          <p:cNvCxnSpPr>
            <a:cxnSpLocks/>
          </p:cNvCxnSpPr>
          <p:nvPr>
            <p:custDataLst>
              <p:tags r:id="rId84"/>
            </p:custDataLst>
          </p:nvPr>
        </p:nvCxnSpPr>
        <p:spPr bwMode="auto">
          <a:xfrm>
            <a:off x="700088" y="4848225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5" name="直线连接符 574">
            <a:extLst>
              <a:ext uri="{FF2B5EF4-FFF2-40B4-BE49-F238E27FC236}">
                <a16:creationId xmlns:a16="http://schemas.microsoft.com/office/drawing/2014/main" id="{DEA49475-1A44-9532-E29E-CE27C8132328}"/>
              </a:ext>
            </a:extLst>
          </p:cNvPr>
          <p:cNvCxnSpPr>
            <a:cxnSpLocks/>
          </p:cNvCxnSpPr>
          <p:nvPr>
            <p:custDataLst>
              <p:tags r:id="rId85"/>
            </p:custDataLst>
          </p:nvPr>
        </p:nvCxnSpPr>
        <p:spPr bwMode="auto">
          <a:xfrm flipH="1">
            <a:off x="4787900" y="651192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9" name="直线连接符 628">
            <a:extLst>
              <a:ext uri="{FF2B5EF4-FFF2-40B4-BE49-F238E27FC236}">
                <a16:creationId xmlns:a16="http://schemas.microsoft.com/office/drawing/2014/main" id="{D817141D-AF15-2B4A-F092-DC1D684AA09A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4773613" y="57721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4" name="直线连接符 563">
            <a:extLst>
              <a:ext uri="{FF2B5EF4-FFF2-40B4-BE49-F238E27FC236}">
                <a16:creationId xmlns:a16="http://schemas.microsoft.com/office/drawing/2014/main" id="{F095F3C6-1F63-8529-11AD-166E32AB5C35}"/>
              </a:ext>
            </a:extLst>
          </p:cNvPr>
          <p:cNvCxnSpPr>
            <a:cxnSpLocks/>
          </p:cNvCxnSpPr>
          <p:nvPr>
            <p:custDataLst>
              <p:tags r:id="rId87"/>
            </p:custDataLst>
          </p:nvPr>
        </p:nvCxnSpPr>
        <p:spPr bwMode="auto">
          <a:xfrm>
            <a:off x="1706563" y="4830763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550" name="Text Placeholder 2">
            <a:extLst>
              <a:ext uri="{FF2B5EF4-FFF2-40B4-BE49-F238E27FC236}">
                <a16:creationId xmlns:a16="http://schemas.microsoft.com/office/drawing/2014/main" id="{651DF30A-D0C8-111E-0D63-484B2CFDF0D6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4576763" y="5635625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E0128-1241-4FD8-8533-673B1F1D223D}" type="datetime'-''''''''''''''''1''''''''''''1''''.''''2''%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1.2%</a:t>
            </a:fld>
            <a:endParaRPr lang="zh-CN" altLang="en-US" sz="1000" b="1" dirty="0"/>
          </a:p>
        </p:txBody>
      </p:sp>
      <p:sp useBgFill="1">
        <p:nvSpPr>
          <p:cNvPr id="530" name="Text Placeholder 2">
            <a:extLst>
              <a:ext uri="{FF2B5EF4-FFF2-40B4-BE49-F238E27FC236}">
                <a16:creationId xmlns:a16="http://schemas.microsoft.com/office/drawing/2014/main" id="{F70FF944-CC6D-2ED5-A4A6-B23A5CBC67CE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574675" y="50022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D41566-F132-49A4-8E7C-011F6776D7B9}" type="datetime'''''3''''''6''''''.''5''''''''''''''''''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/>
          </a:p>
        </p:txBody>
      </p:sp>
      <p:sp useBgFill="1">
        <p:nvSpPr>
          <p:cNvPr id="605" name="Text Placeholder 2">
            <a:extLst>
              <a:ext uri="{FF2B5EF4-FFF2-40B4-BE49-F238E27FC236}">
                <a16:creationId xmlns:a16="http://schemas.microsoft.com/office/drawing/2014/main" id="{755F1BC4-697A-5C1C-3402-739739F72A3E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581150" y="52593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97683E-9E8A-4837-8A42-06DBAE35F003}" type="datetime'''''''''''''2''''''''''2''.5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.5%</a:t>
            </a:fld>
            <a:endParaRPr lang="zh-CN" altLang="en-US" sz="1000" b="1" dirty="0"/>
          </a:p>
        </p:txBody>
      </p:sp>
      <p:sp>
        <p:nvSpPr>
          <p:cNvPr id="536" name="Text Placeholder 2">
            <a:extLst>
              <a:ext uri="{FF2B5EF4-FFF2-40B4-BE49-F238E27FC236}">
                <a16:creationId xmlns:a16="http://schemas.microsoft.com/office/drawing/2014/main" id="{720F0325-60E1-16D4-1FCA-86198BD244ED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581150" y="4987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60B178-E974-47DA-BB9D-FEDAB5B2C634}" type="datetime'''''3''''''7''''''''''''''''.''''''''''''''''3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3%</a:t>
            </a:fld>
            <a:endParaRPr lang="zh-CN" altLang="en-US" sz="1000" b="1" dirty="0"/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4DC09D4E-857D-3F43-5B96-DD2459CCA47B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1549400" y="66071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5608C-E0BF-4939-A76E-04CF07EE6576}" type="datetime'''FY''''''26''''''''Q3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606" name="Text Placeholder 2">
            <a:extLst>
              <a:ext uri="{FF2B5EF4-FFF2-40B4-BE49-F238E27FC236}">
                <a16:creationId xmlns:a16="http://schemas.microsoft.com/office/drawing/2014/main" id="{2A4342E0-BC8A-238E-7476-E9375B52FB74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2586038" y="47180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1069D-1FFA-4A7F-9BA3-F5598632CA5C}" type="datetime'''''''3''''8''''''''''''''.''''''''''''''''''''7''''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7%</a:t>
            </a:fld>
            <a:endParaRPr lang="zh-CN" altLang="en-US" sz="1000" b="1" dirty="0"/>
          </a:p>
        </p:txBody>
      </p:sp>
      <p:sp useBgFill="1">
        <p:nvSpPr>
          <p:cNvPr id="608" name="Text Placeholder 2">
            <a:extLst>
              <a:ext uri="{FF2B5EF4-FFF2-40B4-BE49-F238E27FC236}">
                <a16:creationId xmlns:a16="http://schemas.microsoft.com/office/drawing/2014/main" id="{154F6639-0FCA-70D4-2B51-F6B00091D0D4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2619375" y="5276850"/>
            <a:ext cx="290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5EABA0-BB0F-4C29-B663-5E75534E07DF}" type="datetime'''''8''.''''''3''''''''''''''''''''''''''''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.3%</a:t>
            </a:fld>
            <a:endParaRPr lang="zh-CN" altLang="en-US" sz="1000" b="1" dirty="0"/>
          </a:p>
        </p:txBody>
      </p:sp>
      <p:sp>
        <p:nvSpPr>
          <p:cNvPr id="537" name="Text Placeholder 2">
            <a:extLst>
              <a:ext uri="{FF2B5EF4-FFF2-40B4-BE49-F238E27FC236}">
                <a16:creationId xmlns:a16="http://schemas.microsoft.com/office/drawing/2014/main" id="{BC25E0CA-67D4-EC58-A3AD-FAE435D83089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2600325" y="5762625"/>
            <a:ext cx="3286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FCE74E-71C5-415C-9695-DD6538CD2473}" type="datetime'''''-''''''''''''''''''''''4''.9''%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4.9%</a:t>
            </a:fld>
            <a:endParaRPr lang="zh-CN" altLang="en-US" sz="1000" b="1" dirty="0"/>
          </a:p>
        </p:txBody>
      </p:sp>
      <p:sp>
        <p:nvSpPr>
          <p:cNvPr id="542" name="Text Placeholder 2">
            <a:extLst>
              <a:ext uri="{FF2B5EF4-FFF2-40B4-BE49-F238E27FC236}">
                <a16:creationId xmlns:a16="http://schemas.microsoft.com/office/drawing/2014/main" id="{E67B0640-9696-48BD-F900-6E767AC5BE60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2586038" y="50419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739E13-9749-497F-8536-5CAECE4ABB5E}" type="datetime'''''3''''''''''4''''''''''.''3''''''''''''''''%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3%</a:t>
            </a:fld>
            <a:endParaRPr lang="zh-CN" altLang="en-US" sz="1000" b="1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69FAB058-E79A-25C1-3F45-404A4E0C96FA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2554288" y="66071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C60709-67AA-4CCC-B43B-D56AAB66184D}" type="datetime'''F''Y''''''''''''2''''''''''''6''''''''''''''Q''4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6DCBD002-BC34-5AE5-5EC4-3E2743BB73BB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3590925" y="47117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91EC1F-81DE-4948-9C38-2C03AD154F53}" type="datetime'''''''''''3''''''9''''''''''''''''.''1''''''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1%</a:t>
            </a:fld>
            <a:endParaRPr lang="zh-CN" altLang="en-US" sz="1000" b="1" dirty="0"/>
          </a:p>
        </p:txBody>
      </p:sp>
      <p:sp useBgFill="1">
        <p:nvSpPr>
          <p:cNvPr id="611" name="Text Placeholder 2">
            <a:extLst>
              <a:ext uri="{FF2B5EF4-FFF2-40B4-BE49-F238E27FC236}">
                <a16:creationId xmlns:a16="http://schemas.microsoft.com/office/drawing/2014/main" id="{31308E86-82BE-B48D-59E5-4409B8CD1E24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3624263" y="5586413"/>
            <a:ext cx="290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88BA8D-E082-4A58-9805-59E6F32FD3E3}" type="datetime'''''''''''''''''4.''''''''''''''''''''''7''''''''''''%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b="1" dirty="0"/>
          </a:p>
        </p:txBody>
      </p:sp>
      <p:sp>
        <p:nvSpPr>
          <p:cNvPr id="612" name="Text Placeholder 2">
            <a:extLst>
              <a:ext uri="{FF2B5EF4-FFF2-40B4-BE49-F238E27FC236}">
                <a16:creationId xmlns:a16="http://schemas.microsoft.com/office/drawing/2014/main" id="{1F2E5A04-6E13-D320-B121-2A4E455E1467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3590925" y="4135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8714CE-2C3C-43D8-951B-A28EA96182A6}" type="datetime'70''''''.''''''''5''''%''''''''''''''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5%</a:t>
            </a:fld>
            <a:endParaRPr lang="zh-CN" altLang="en-US" sz="1000" b="1" dirty="0"/>
          </a:p>
        </p:txBody>
      </p:sp>
      <p:sp useBgFill="1">
        <p:nvSpPr>
          <p:cNvPr id="549" name="Text Placeholder 2">
            <a:extLst>
              <a:ext uri="{FF2B5EF4-FFF2-40B4-BE49-F238E27FC236}">
                <a16:creationId xmlns:a16="http://schemas.microsoft.com/office/drawing/2014/main" id="{1C0BCCEB-CB2D-0BC4-7722-161D7FEDD8F9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3590925" y="51038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D8C525-8F22-46D1-9EFF-D082A2EC854E}" type="datetime'''''''''''''''''''''''''''''3''1''.''0''''''''''''''%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0%</a:t>
            </a:fld>
            <a:endParaRPr lang="zh-CN" altLang="en-US" sz="1000" b="1" dirty="0"/>
          </a:p>
        </p:txBody>
      </p:sp>
      <p:sp>
        <p:nvSpPr>
          <p:cNvPr id="393" name="Text Placeholder 2">
            <a:extLst>
              <a:ext uri="{FF2B5EF4-FFF2-40B4-BE49-F238E27FC236}">
                <a16:creationId xmlns:a16="http://schemas.microsoft.com/office/drawing/2014/main" id="{A97351AF-79FF-CAA1-1FEE-13ACEE92F342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3559175" y="66071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75FC6-5896-4EB3-B83C-97D139B4F4C6}" type="datetime'''''''F''''''''Y''''''27''''''''''''''''''''''Q1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601" name="Text Placeholder 2">
            <a:extLst>
              <a:ext uri="{FF2B5EF4-FFF2-40B4-BE49-F238E27FC236}">
                <a16:creationId xmlns:a16="http://schemas.microsoft.com/office/drawing/2014/main" id="{F0908EBE-CED8-95B3-9067-8C6EE2F812FA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350963" y="47625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A5AA7D1-F774-400E-95EA-AA7CE86F25C8}" type="datetime'4''''''''''2''''''''''''''''''''''.''''''9''''''''%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.9%</a:t>
            </a:fld>
            <a:endParaRPr lang="zh-CN" altLang="en-US" sz="1000" b="1" dirty="0"/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5F61892D-90C0-2DAC-3FB8-1FDDD40336E8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542925" y="66071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CD8E9-2A94-43A0-8ECE-277CBF141D79}" type="datetime'''F''''''''''''Y''''''''''''''2''6''Q''''''''2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 useBgFill="1">
        <p:nvSpPr>
          <p:cNvPr id="551" name="Text Placeholder 2">
            <a:extLst>
              <a:ext uri="{FF2B5EF4-FFF2-40B4-BE49-F238E27FC236}">
                <a16:creationId xmlns:a16="http://schemas.microsoft.com/office/drawing/2014/main" id="{E56107E0-EA0C-35BD-9C05-D8F792EDC0C6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4576763" y="6237288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BD5E9F-17D7-4742-A42B-CA78B88E00D9}" type="datetime'''''-''''''43''''''''''''''''''''.''''''''''''9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43.9%</a:t>
            </a:fld>
            <a:endParaRPr lang="zh-CN" altLang="en-US" sz="1000" b="1" dirty="0"/>
          </a:p>
        </p:txBody>
      </p:sp>
      <p:sp>
        <p:nvSpPr>
          <p:cNvPr id="552" name="Text Placeholder 2">
            <a:extLst>
              <a:ext uri="{FF2B5EF4-FFF2-40B4-BE49-F238E27FC236}">
                <a16:creationId xmlns:a16="http://schemas.microsoft.com/office/drawing/2014/main" id="{7F19FA2E-5B98-86AE-EC97-A6E6E8BF576F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4827588" y="64436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93D2CB-9BC1-468C-9CFA-382013EEEC84}" type="datetime'''-''''''''''''4''''''8''''.''''''6''''''''''''%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48.6%</a:t>
            </a:fld>
            <a:endParaRPr lang="zh-CN" altLang="en-US" sz="1000" b="1" dirty="0"/>
          </a:p>
        </p:txBody>
      </p:sp>
      <p:sp>
        <p:nvSpPr>
          <p:cNvPr id="532" name="Text Placeholder 2">
            <a:extLst>
              <a:ext uri="{FF2B5EF4-FFF2-40B4-BE49-F238E27FC236}">
                <a16:creationId xmlns:a16="http://schemas.microsoft.com/office/drawing/2014/main" id="{C2E90F28-C4B3-BA31-EBD8-F64D286C2330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574675" y="5114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A47B80-9407-4FAB-AE71-D90B6D8EAF34}" type="datetime'''''''''3''0.''''''''''''''''''4''''''''''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4%</a:t>
            </a:fld>
            <a:endParaRPr lang="zh-CN" altLang="en-US" sz="1000" b="1" dirty="0"/>
          </a:p>
        </p:txBody>
      </p:sp>
      <p:sp>
        <p:nvSpPr>
          <p:cNvPr id="553" name="Text Placeholder 2">
            <a:extLst>
              <a:ext uri="{FF2B5EF4-FFF2-40B4-BE49-F238E27FC236}">
                <a16:creationId xmlns:a16="http://schemas.microsoft.com/office/drawing/2014/main" id="{1B9B6D88-D0AE-4C5C-0A6C-2C44CA8A077F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4576763" y="5856288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339804-107F-470C-95C2-7E4038DACF3B}" type="datetime'''''''''''''-''''1''''0''''.''''0''''''''''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0.0%</a:t>
            </a:fld>
            <a:endParaRPr lang="zh-CN" altLang="en-US" sz="1000" b="1" dirty="0"/>
          </a:p>
        </p:txBody>
      </p:sp>
      <p:sp>
        <p:nvSpPr>
          <p:cNvPr id="531" name="Text Placeholder 2">
            <a:extLst>
              <a:ext uri="{FF2B5EF4-FFF2-40B4-BE49-F238E27FC236}">
                <a16:creationId xmlns:a16="http://schemas.microsoft.com/office/drawing/2014/main" id="{C479AEC3-E489-ED05-D93B-642FDC5DD4D3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344488" y="47799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CBB33F6-53CB-4B85-A359-8B364BBD8B10}" type="datetime'''''''''4''''''''''''2.''''''''''0''''''''%''''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.0%</a:t>
            </a:fld>
            <a:endParaRPr lang="zh-CN" altLang="en-US" sz="1000" b="1" dirty="0"/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3DC9B3A7-8DBD-C3A9-4EAB-1AE6291DA994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4672013" y="66071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391045-09E1-4CF3-8738-B3D4BF9D11B0}" type="datetime'''''''''''''''''''2''''''''''''''''''''''''''''''''''月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614" name="Text Placeholder 2">
            <a:extLst>
              <a:ext uri="{FF2B5EF4-FFF2-40B4-BE49-F238E27FC236}">
                <a16:creationId xmlns:a16="http://schemas.microsoft.com/office/drawing/2014/main" id="{75BE4A05-4FAE-B2EF-5E87-7720B897747B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5602288" y="46466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3084DD-36B7-41BB-A97D-39E42286391B}" type="datetime'''''4''''''''''''2''''''''''''''''''''''.''''6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6%</a:t>
            </a:fld>
            <a:endParaRPr lang="zh-CN" altLang="en-US" sz="1000" b="1" dirty="0"/>
          </a:p>
        </p:txBody>
      </p:sp>
      <p:sp useBgFill="1">
        <p:nvSpPr>
          <p:cNvPr id="554" name="Text Placeholder 2">
            <a:extLst>
              <a:ext uri="{FF2B5EF4-FFF2-40B4-BE49-F238E27FC236}">
                <a16:creationId xmlns:a16="http://schemas.microsoft.com/office/drawing/2014/main" id="{6EC805AE-219F-5D3A-A795-4C3F242AF901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5602288" y="54737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B9B7ED-5925-4446-8B80-A9A33B48DACE}" type="datetime'''''''''''''''1''0''''.''''''''8''''''%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8%</a:t>
            </a:fld>
            <a:endParaRPr lang="zh-CN" altLang="en-US" sz="1000" b="1" dirty="0"/>
          </a:p>
        </p:txBody>
      </p:sp>
      <p:sp useBgFill="1">
        <p:nvSpPr>
          <p:cNvPr id="555" name="Text Placeholder 2">
            <a:extLst>
              <a:ext uri="{FF2B5EF4-FFF2-40B4-BE49-F238E27FC236}">
                <a16:creationId xmlns:a16="http://schemas.microsoft.com/office/drawing/2014/main" id="{5F1019DE-1217-3093-C328-44FF482F3ACF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5602288" y="51165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04106-1778-4C2C-939C-8E29764FF378}" type="datetime'1''''''''7''''''''''''.''''1''''''''''''''''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1%</a:t>
            </a:fld>
            <a:endParaRPr lang="zh-CN" altLang="en-US" sz="1000" b="1" dirty="0"/>
          </a:p>
        </p:txBody>
      </p:sp>
      <p:sp useBgFill="1">
        <p:nvSpPr>
          <p:cNvPr id="556" name="Text Placeholder 2">
            <a:extLst>
              <a:ext uri="{FF2B5EF4-FFF2-40B4-BE49-F238E27FC236}">
                <a16:creationId xmlns:a16="http://schemas.microsoft.com/office/drawing/2014/main" id="{CF07F6AC-9790-1935-460A-A472FB5CE019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5372100" y="49101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0FC20F-B0EF-4EBA-BB04-2CC0E31195C7}" type="datetime'''''''''''''''''''3''4''''''''''.''''''8''''''%''''''''''''''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4.8%</a:t>
            </a:fld>
            <a:endParaRPr lang="zh-CN" altLang="en-US" sz="1000" b="1" dirty="0"/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CE2B249B-54F0-CF06-2CB6-4CE6C4058047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5678488" y="66071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C20A8F-7285-451D-B24A-9E9CE088CEC7}" type="datetime'''''''''''''''''''''''''''''''''''''''''''3月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615" name="Text Placeholder 2">
            <a:extLst>
              <a:ext uri="{FF2B5EF4-FFF2-40B4-BE49-F238E27FC236}">
                <a16:creationId xmlns:a16="http://schemas.microsoft.com/office/drawing/2014/main" id="{CFB0777B-DD71-E115-76AC-F0FD38572D43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6607175" y="46402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852B26-23CC-4F4F-AF6F-DC79AE59BC09}" type="datetime'''''''''4''''''''''3''''''''''''''''.''''''''''''0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0%</a:t>
            </a:fld>
            <a:endParaRPr lang="zh-CN" altLang="en-US" sz="1000" b="1" dirty="0"/>
          </a:p>
        </p:txBody>
      </p:sp>
      <p:sp>
        <p:nvSpPr>
          <p:cNvPr id="616" name="Text Placeholder 2">
            <a:extLst>
              <a:ext uri="{FF2B5EF4-FFF2-40B4-BE49-F238E27FC236}">
                <a16:creationId xmlns:a16="http://schemas.microsoft.com/office/drawing/2014/main" id="{7BD25F80-508F-5BC4-4EA6-0AB7299C76B2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6607175" y="54403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8AC5F0-E32E-43BE-B2BB-62C538D431A7}" type="datetime'1''''''''2''''.''''''''''''6''''''''''''''%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6%</a:t>
            </a:fld>
            <a:endParaRPr lang="zh-CN" altLang="en-US" sz="1000" b="1" dirty="0"/>
          </a:p>
        </p:txBody>
      </p:sp>
      <p:sp>
        <p:nvSpPr>
          <p:cNvPr id="617" name="Text Placeholder 2">
            <a:extLst>
              <a:ext uri="{FF2B5EF4-FFF2-40B4-BE49-F238E27FC236}">
                <a16:creationId xmlns:a16="http://schemas.microsoft.com/office/drawing/2014/main" id="{113ACBB5-A16D-7860-AAFF-3D700019B4FA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6607175" y="37084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E7C520-2339-41C1-98E5-4D0646EA85B8}" type="datetime'9''''''''''''''3''.''''''''8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3.8%</a:t>
            </a:fld>
            <a:endParaRPr lang="zh-CN" altLang="en-US" sz="1000" b="1" dirty="0"/>
          </a:p>
        </p:txBody>
      </p:sp>
      <p:sp>
        <p:nvSpPr>
          <p:cNvPr id="618" name="Text Placeholder 2">
            <a:extLst>
              <a:ext uri="{FF2B5EF4-FFF2-40B4-BE49-F238E27FC236}">
                <a16:creationId xmlns:a16="http://schemas.microsoft.com/office/drawing/2014/main" id="{89A493EF-3BF5-C819-A860-705AC2C78A56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gray">
          <a:xfrm>
            <a:off x="6607175" y="50768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28F6F8-B784-4B1E-9550-F7A1C15CC571}" type="datetime'''''3''2''''''''''''''''''''''.5''''''%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5%</a:t>
            </a:fld>
            <a:endParaRPr lang="zh-CN" altLang="en-US" sz="1000" b="1" dirty="0"/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628347CA-9E50-B4AF-9411-3FED8432346D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6683375" y="66071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835E39-39EB-4FD3-B717-C6C18DE7793B}" type="datetime'''''4''''''月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619" name="Text Placeholder 2">
            <a:extLst>
              <a:ext uri="{FF2B5EF4-FFF2-40B4-BE49-F238E27FC236}">
                <a16:creationId xmlns:a16="http://schemas.microsoft.com/office/drawing/2014/main" id="{1AB4FC41-014F-8014-C924-BD9694FD5186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gray">
          <a:xfrm>
            <a:off x="7612063" y="48291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D0EC27-EDB1-4C9E-AAD3-0EEE53E41548}" type="datetime'3''''''''2.''''''''''''''''''''''7''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7%</a:t>
            </a:fld>
            <a:endParaRPr lang="zh-CN" altLang="en-US" sz="1000" b="1" dirty="0"/>
          </a:p>
        </p:txBody>
      </p:sp>
      <p:sp useBgFill="1">
        <p:nvSpPr>
          <p:cNvPr id="620" name="Text Placeholder 2">
            <a:extLst>
              <a:ext uri="{FF2B5EF4-FFF2-40B4-BE49-F238E27FC236}">
                <a16:creationId xmlns:a16="http://schemas.microsoft.com/office/drawing/2014/main" id="{7BAAA147-DCDD-7D8A-4897-9A1ADB008CA9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7343775" y="5745163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E66C4F2-ABE7-470D-8020-531E04B481A6}" type="datetime'''-1''''''''''''''0''''''''''.''''''''''6''%''''''''''''''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0.6%</a:t>
            </a:fld>
            <a:endParaRPr lang="zh-CN" altLang="en-US" sz="1000" b="1" dirty="0"/>
          </a:p>
        </p:txBody>
      </p:sp>
      <p:sp>
        <p:nvSpPr>
          <p:cNvPr id="557" name="Text Placeholder 2">
            <a:extLst>
              <a:ext uri="{FF2B5EF4-FFF2-40B4-BE49-F238E27FC236}">
                <a16:creationId xmlns:a16="http://schemas.microsoft.com/office/drawing/2014/main" id="{E4120A2E-B8C5-29C4-571D-AB25670EA521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7612063" y="53625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6F7781-15E2-48B3-91F2-F5242A6ED39E}" type="datetime'1''''6''''''''.''''9''''''''''''''''''''''''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.9%</a:t>
            </a:fld>
            <a:endParaRPr lang="zh-CN" altLang="en-US" sz="1000" b="1" dirty="0"/>
          </a:p>
        </p:txBody>
      </p:sp>
      <p:sp useBgFill="1">
        <p:nvSpPr>
          <p:cNvPr id="558" name="Text Placeholder 2">
            <a:extLst>
              <a:ext uri="{FF2B5EF4-FFF2-40B4-BE49-F238E27FC236}">
                <a16:creationId xmlns:a16="http://schemas.microsoft.com/office/drawing/2014/main" id="{4D4148EC-D852-2261-958B-AC3F743A6767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7612063" y="51514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B68C84-88F9-4980-AD43-443D1C17D923}" type="datetime'''''2''8''''''''''''''''''''.''''''4''''''''%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4%</a:t>
            </a:fld>
            <a:endParaRPr lang="zh-CN" altLang="en-US" sz="1000" b="1" dirty="0"/>
          </a:p>
        </p:txBody>
      </p:sp>
      <p:sp>
        <p:nvSpPr>
          <p:cNvPr id="600" name="Text Placeholder 2">
            <a:extLst>
              <a:ext uri="{FF2B5EF4-FFF2-40B4-BE49-F238E27FC236}">
                <a16:creationId xmlns:a16="http://schemas.microsoft.com/office/drawing/2014/main" id="{2D274FFE-FC3B-D3D2-CFCE-EE00D86C7560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gray">
          <a:xfrm>
            <a:off x="574675" y="4532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88A89D-144C-4259-AE02-E9A01F7C2621}" type="datetime'''4''''''''''''''''''''''''''''8.''''''''''''9''''''''''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9%</a:t>
            </a:fld>
            <a:endParaRPr lang="zh-CN" altLang="en-US" sz="1000" b="1" dirty="0"/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A50763A5-388E-740D-DF3E-C14C02DAD695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7580313" y="66071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908DFA-9051-4A5D-BC0A-323E5938615A}" type="datetime'''''5''''''''''''月''mt''''''''''''''''''''''''d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602" name="Text Placeholder 2">
            <a:extLst>
              <a:ext uri="{FF2B5EF4-FFF2-40B4-BE49-F238E27FC236}">
                <a16:creationId xmlns:a16="http://schemas.microsoft.com/office/drawing/2014/main" id="{12FFF397-C9AB-BD3B-C3D2-C68503D31E10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1581150" y="46529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4E49DE-325A-41BF-A35F-03353615305D}" type="datetime'''4''''''''''''''''''''''2''''''''''''''.3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3%</a:t>
            </a:fld>
            <a:endParaRPr lang="zh-CN" altLang="en-US" sz="1000" b="1" dirty="0"/>
          </a:p>
        </p:txBody>
      </p:sp>
      <p:sp>
        <p:nvSpPr>
          <p:cNvPr id="598" name="文本框 597">
            <a:extLst>
              <a:ext uri="{FF2B5EF4-FFF2-40B4-BE49-F238E27FC236}">
                <a16:creationId xmlns:a16="http://schemas.microsoft.com/office/drawing/2014/main" id="{283D0115-48A3-5C61-4924-DBD6759DE315}"/>
              </a:ext>
            </a:extLst>
          </p:cNvPr>
          <p:cNvSpPr txBox="1"/>
          <p:nvPr/>
        </p:nvSpPr>
        <p:spPr>
          <a:xfrm>
            <a:off x="3277214" y="3640137"/>
            <a:ext cx="2138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直营</a:t>
            </a:r>
            <a:r>
              <a:rPr kumimoji="1" lang="en-US" altLang="zh-CN" b="1" dirty="0"/>
              <a:t>by</a:t>
            </a:r>
            <a:r>
              <a:rPr kumimoji="1" lang="zh-CN" altLang="en-US" b="1" dirty="0"/>
              <a:t>收入类型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  <p:cxnSp>
        <p:nvCxnSpPr>
          <p:cNvPr id="590" name="直线连接符 589">
            <a:extLst>
              <a:ext uri="{FF2B5EF4-FFF2-40B4-BE49-F238E27FC236}">
                <a16:creationId xmlns:a16="http://schemas.microsoft.com/office/drawing/2014/main" id="{59CE33F6-9420-A0E5-A57E-D2E9B4B130B5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gray">
          <a:xfrm>
            <a:off x="260350" y="6383338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1" name="直线连接符 590">
            <a:extLst>
              <a:ext uri="{FF2B5EF4-FFF2-40B4-BE49-F238E27FC236}">
                <a16:creationId xmlns:a16="http://schemas.microsoft.com/office/drawing/2014/main" id="{A38EF66B-525D-832E-AF83-2CB66AD8E5EB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gray">
          <a:xfrm>
            <a:off x="1155700" y="6383338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2" name="直线连接符 591">
            <a:extLst>
              <a:ext uri="{FF2B5EF4-FFF2-40B4-BE49-F238E27FC236}">
                <a16:creationId xmlns:a16="http://schemas.microsoft.com/office/drawing/2014/main" id="{340A36DD-E0A6-8561-0AB3-D20DF04FD011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gray">
          <a:xfrm>
            <a:off x="2178050" y="6383338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3" name="直线连接符 592">
            <a:extLst>
              <a:ext uri="{FF2B5EF4-FFF2-40B4-BE49-F238E27FC236}">
                <a16:creationId xmlns:a16="http://schemas.microsoft.com/office/drawing/2014/main" id="{93B5DB8E-31D7-3F82-6B73-FDC58A2FC162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gray">
          <a:xfrm>
            <a:off x="3200400" y="6383338"/>
            <a:ext cx="3429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7" name="Text Placeholder 2">
            <a:extLst>
              <a:ext uri="{FF2B5EF4-FFF2-40B4-BE49-F238E27FC236}">
                <a16:creationId xmlns:a16="http://schemas.microsoft.com/office/drawing/2014/main" id="{E33BC0DA-2421-055E-245E-92F001C3AF80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auto">
          <a:xfrm>
            <a:off x="663575" y="6324600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AB24D0-BC91-4758-B1EA-32291139F4D9}" type="datetime'''总''''''收''''''''''''''''''''入''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8" name="Text Placeholder 2">
            <a:extLst>
              <a:ext uri="{FF2B5EF4-FFF2-40B4-BE49-F238E27FC236}">
                <a16:creationId xmlns:a16="http://schemas.microsoft.com/office/drawing/2014/main" id="{C1159023-B8B1-AD6F-B80D-711A9E003CF0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auto">
          <a:xfrm>
            <a:off x="1558925" y="6324600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3380EBD-48B8-451C-94D0-FD2D39F34CF0}" type="datetime'新''''''''''''''签''''''''''''''''''''''年''''费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9" name="Text Placeholder 2">
            <a:extLst>
              <a:ext uri="{FF2B5EF4-FFF2-40B4-BE49-F238E27FC236}">
                <a16:creationId xmlns:a16="http://schemas.microsoft.com/office/drawing/2014/main" id="{BCC167DA-B7D3-3866-9687-0D3C57DE0C02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auto">
          <a:xfrm>
            <a:off x="2581275" y="6324600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B8280C-511B-40DA-A355-AAFA7F598B52}" type="datetime'''''续''''签年''''''''''''''''''''''''''''''''费''''''''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lang="zh-CN" altLang="en-US" sz="1000" b="1" dirty="0"/>
          </a:p>
        </p:txBody>
      </p:sp>
      <p:sp>
        <p:nvSpPr>
          <p:cNvPr id="490" name="Text Placeholder 2">
            <a:extLst>
              <a:ext uri="{FF2B5EF4-FFF2-40B4-BE49-F238E27FC236}">
                <a16:creationId xmlns:a16="http://schemas.microsoft.com/office/drawing/2014/main" id="{C433BA6F-386D-A211-E659-A93530B208D4}"/>
              </a:ext>
            </a:extLst>
          </p:cNvPr>
          <p:cNvSpPr txBox="1">
            <a:spLocks/>
          </p:cNvSpPr>
          <p:nvPr>
            <p:custDataLst>
              <p:tags r:id="rId135"/>
            </p:custDataLst>
          </p:nvPr>
        </p:nvSpPr>
        <p:spPr bwMode="auto">
          <a:xfrm>
            <a:off x="3603625" y="6324600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606298-5B4B-49AA-AF24-37D25F72A4C5}" type="datetime'''''''''''''''''''''效''果''''''广''告'''''''''''''''">
              <a:rPr lang="zh-CN" altLang="en-US" sz="1000" b="1" smtClean="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效果广告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30" name="矩形 129">
            <a:extLst>
              <a:ext uri="{FF2B5EF4-FFF2-40B4-BE49-F238E27FC236}">
                <a16:creationId xmlns:a16="http://schemas.microsoft.com/office/drawing/2014/main" id="{A36E5372-4562-962E-F6BC-F7031462C6C1}"/>
              </a:ext>
            </a:extLst>
          </p:cNvPr>
          <p:cNvSpPr/>
          <p:nvPr>
            <p:custDataLst>
              <p:tags r:id="rId136"/>
            </p:custDataLst>
          </p:nvPr>
        </p:nvSpPr>
        <p:spPr bwMode="auto">
          <a:xfrm>
            <a:off x="71438" y="296703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1" name="矩形 130">
            <a:extLst>
              <a:ext uri="{FF2B5EF4-FFF2-40B4-BE49-F238E27FC236}">
                <a16:creationId xmlns:a16="http://schemas.microsoft.com/office/drawing/2014/main" id="{30D1016F-7BA7-AB13-6FE8-4F1CACA8144E}"/>
              </a:ext>
            </a:extLst>
          </p:cNvPr>
          <p:cNvSpPr/>
          <p:nvPr>
            <p:custDataLst>
              <p:tags r:id="rId137"/>
            </p:custDataLst>
          </p:nvPr>
        </p:nvSpPr>
        <p:spPr bwMode="auto">
          <a:xfrm>
            <a:off x="1185863" y="296703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2" name="矩形 131">
            <a:extLst>
              <a:ext uri="{FF2B5EF4-FFF2-40B4-BE49-F238E27FC236}">
                <a16:creationId xmlns:a16="http://schemas.microsoft.com/office/drawing/2014/main" id="{3DB7AFD2-1E93-D295-B33D-4AF94DED6AAA}"/>
              </a:ext>
            </a:extLst>
          </p:cNvPr>
          <p:cNvSpPr/>
          <p:nvPr>
            <p:custDataLst>
              <p:tags r:id="rId138"/>
            </p:custDataLst>
          </p:nvPr>
        </p:nvSpPr>
        <p:spPr bwMode="auto">
          <a:xfrm>
            <a:off x="2300288" y="296703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3" name="矩形 132">
            <a:extLst>
              <a:ext uri="{FF2B5EF4-FFF2-40B4-BE49-F238E27FC236}">
                <a16:creationId xmlns:a16="http://schemas.microsoft.com/office/drawing/2014/main" id="{7DD8E9AA-BE32-EC28-A129-5D194A6E4AB8}"/>
              </a:ext>
            </a:extLst>
          </p:cNvPr>
          <p:cNvSpPr/>
          <p:nvPr>
            <p:custDataLst>
              <p:tags r:id="rId139"/>
            </p:custDataLst>
          </p:nvPr>
        </p:nvSpPr>
        <p:spPr bwMode="auto">
          <a:xfrm>
            <a:off x="3770313" y="296703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35" name="Text Placeholder 2">
            <a:extLst>
              <a:ext uri="{FF2B5EF4-FFF2-40B4-BE49-F238E27FC236}">
                <a16:creationId xmlns:a16="http://schemas.microsoft.com/office/drawing/2014/main" id="{C9564E6E-49A5-9A29-1CA7-E2AC4D4FE22A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auto">
          <a:xfrm>
            <a:off x="373063" y="29781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13DC46-F73B-45C8-8280-666397C52E36}" type="datetime'''''''''''''''''''''''''''''''''新签''''''年''''费'">
              <a:rPr kumimoji="1" lang="zh-CN" altLang="en-US" sz="1400" smtClean="0">
                <a:effectLst/>
              </a:rPr>
              <a:pPr/>
              <a:t>新签年费</a:t>
            </a:fld>
            <a:endParaRPr kumimoji="1" lang="zh-CN" altLang="en-US" sz="1400" dirty="0"/>
          </a:p>
        </p:txBody>
      </p:sp>
      <p:sp>
        <p:nvSpPr>
          <p:cNvPr id="637" name="Text Placeholder 2">
            <a:extLst>
              <a:ext uri="{FF2B5EF4-FFF2-40B4-BE49-F238E27FC236}">
                <a16:creationId xmlns:a16="http://schemas.microsoft.com/office/drawing/2014/main" id="{EE8C13A2-328E-714F-C268-FBC1CEF57327}"/>
              </a:ext>
            </a:extLst>
          </p:cNvPr>
          <p:cNvSpPr txBox="1">
            <a:spLocks/>
          </p:cNvSpPr>
          <p:nvPr>
            <p:custDataLst>
              <p:tags r:id="rId141"/>
            </p:custDataLst>
          </p:nvPr>
        </p:nvSpPr>
        <p:spPr bwMode="auto">
          <a:xfrm>
            <a:off x="1487488" y="29781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FFD6A4-9C79-4B2C-824A-21DB28FE840B}" type="datetime'''''''''续''签''''''''年''''''''''''''''''''费'''''">
              <a:rPr kumimoji="1" lang="zh-CN" altLang="en-US" sz="1400" smtClean="0">
                <a:effectLst/>
              </a:rPr>
              <a:pPr/>
              <a:t>续签年费</a:t>
            </a:fld>
            <a:endParaRPr kumimoji="1" lang="zh-CN" altLang="en-US" sz="1400" dirty="0"/>
          </a:p>
        </p:txBody>
      </p:sp>
      <p:sp>
        <p:nvSpPr>
          <p:cNvPr id="638" name="Text Placeholder 2">
            <a:extLst>
              <a:ext uri="{FF2B5EF4-FFF2-40B4-BE49-F238E27FC236}">
                <a16:creationId xmlns:a16="http://schemas.microsoft.com/office/drawing/2014/main" id="{729F0EDE-FBBA-8A09-FA6C-5B0D4202E699}"/>
              </a:ext>
            </a:extLst>
          </p:cNvPr>
          <p:cNvSpPr txBox="1">
            <a:spLocks/>
          </p:cNvSpPr>
          <p:nvPr>
            <p:custDataLst>
              <p:tags r:id="rId142"/>
            </p:custDataLst>
          </p:nvPr>
        </p:nvSpPr>
        <p:spPr bwMode="auto">
          <a:xfrm>
            <a:off x="2601913" y="297815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0CC1260-36AE-434B-AC57-735FB7BCBDD2}" type="datetime'''''''''广''''''''''告''''''现''金''''''''''''''''收''''''入'''''''">
              <a:rPr kumimoji="1" lang="zh-CN" altLang="en-US" sz="1400" smtClean="0">
                <a:effectLst/>
              </a:rPr>
              <a:pPr/>
              <a:t>广告现金收入</a:t>
            </a:fld>
            <a:endParaRPr kumimoji="1" lang="zh-CN" altLang="en-US" sz="1400" dirty="0"/>
          </a:p>
        </p:txBody>
      </p:sp>
      <p:sp>
        <p:nvSpPr>
          <p:cNvPr id="639" name="Text Placeholder 2">
            <a:extLst>
              <a:ext uri="{FF2B5EF4-FFF2-40B4-BE49-F238E27FC236}">
                <a16:creationId xmlns:a16="http://schemas.microsoft.com/office/drawing/2014/main" id="{34029BD0-C457-C5E0-71D6-600B831E4754}"/>
              </a:ext>
            </a:extLst>
          </p:cNvPr>
          <p:cNvSpPr txBox="1">
            <a:spLocks/>
          </p:cNvSpPr>
          <p:nvPr>
            <p:custDataLst>
              <p:tags r:id="rId143"/>
            </p:custDataLst>
          </p:nvPr>
        </p:nvSpPr>
        <p:spPr bwMode="auto">
          <a:xfrm>
            <a:off x="4071938" y="297815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104F58-9337-4C44-BDFD-29231A71AFC0}" type="datetime'品牌''''''''''''''广''''''''''''''''''''''''''''''''''''告''收''入'">
              <a:rPr kumimoji="1" lang="zh-CN" altLang="en-US" sz="1400" smtClean="0">
                <a:effectLst/>
              </a:rPr>
              <a:pPr/>
              <a:t>品牌广告收入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2862561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BB486A-40D1-8721-201D-788C7C4F7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495A00D-96CA-1185-4EF3-A54D1036D22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6603063"/>
              </p:ext>
            </p:extLst>
          </p:nvPr>
        </p:nvGraphicFramePr>
        <p:xfrm>
          <a:off x="1192" y="85844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0" imgW="7772400" imgH="10058400" progId="TCLayout.ActiveDocument.1">
                  <p:embed/>
                </p:oleObj>
              </mc:Choice>
              <mc:Fallback>
                <p:oleObj name="think-cell 幻灯片" r:id="rId15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AD1EA-0925-5B5A-4F78-C50E348732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1"/>
                      <a:stretch>
                        <a:fillRect/>
                      </a:stretch>
                    </p:blipFill>
                    <p:spPr>
                      <a:xfrm>
                        <a:off x="1192" y="85844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6" name="Chart 3">
            <a:extLst>
              <a:ext uri="{FF2B5EF4-FFF2-40B4-BE49-F238E27FC236}">
                <a16:creationId xmlns:a16="http://schemas.microsoft.com/office/drawing/2014/main" id="{94952DA1-C981-96A5-C895-FDA5614F8E3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0808884"/>
              </p:ext>
            </p:extLst>
          </p:nvPr>
        </p:nvGraphicFramePr>
        <p:xfrm>
          <a:off x="166688" y="558800"/>
          <a:ext cx="2687637" cy="2147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2"/>
          </a:graphicData>
        </a:graphic>
      </p:graphicFrame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0878FCE-D0DF-BEC6-1CCE-725BCFC4F60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439988" y="16827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86AFBA-0FE7-48CD-BDEF-0AC7D2F65E3B}" type="datetime'''5''''''''''''''''.3''''''''''''''''''''''''%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9E7E0BFC-22FA-441A-6C4B-B43088F6A4C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947738" y="11382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475D4B-1AFA-4D43-863B-8454D7DC09EF}" type="datetime'5''''''''''''''''''.''''''''''6''''''''%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525DBADC-62B9-BAC6-28D1-38232D3912C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914400" y="18526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1C312B-0B67-43FB-834B-EC2B99F4B0D5}" type="datetime'''7''''3''''''''''''''.''''''''''''''''''5''''%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5%</a:t>
            </a:fld>
            <a:endParaRPr lang="zh-CN" altLang="en-US" sz="10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8808C0E-147D-CB86-1864-F6F1A654CE7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47738" y="25368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7E92F9-A369-4A45-9136-74F463FF7D7B}" type="datetime'''''''''''''''''''2''''.''''''''''''2''''''''''%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468F1D7F-59BF-3451-1D12-10A6BF77337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841375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B8DFF9-5986-4DF6-AF49-BED4AD98254B}" type="datetime'''''''F''''''Y''''''''2''''''''''''6Q''''3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D0DB324-8628-8B3B-7623-BC8D95EC492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781175" y="971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ACD9AB4-CE69-40A0-8F39-EE2FC316CE03}" type="datetime'''2''7''''''''.3''''''''''''''''''''''''''''''''''''''''%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27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D15DE330-B436-C1FF-8260-E9B674CED5F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752600" y="13033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764A0C-7EE7-4E62-A8E9-8F885E465C0B}" type="datetime'5''''''''''''''.''''''''''''0''''''''''''''''''%'''''''">
              <a:rPr lang="zh-CN" altLang="en-US" sz="1000" smtClean="0">
                <a:effectLst/>
              </a:rPr>
              <a:pPr/>
              <a:t>5.0%</a:t>
            </a:fld>
            <a:endParaRPr lang="zh-CN" altLang="en-US" sz="1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FA84F8F-986A-9896-B113-D9ABA6326EB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754188" y="1865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82393D-DCC1-4738-89DB-20F25703AF2F}" type="datetime'''6''5.''''''''''''''''''''''9''''''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9%</a:t>
            </a:fld>
            <a:endParaRPr lang="zh-CN" altLang="en-US" sz="10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EC7A563-7BFD-41DD-4E83-FBEA5DEF6C0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787525" y="25384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E94BC3-9CC1-400A-95D1-48EBD0EDFEAD}" type="datetime'''''''1''''''.''''8''''''''''''''''''''''''''''''''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37DEFA77-A086-787E-7FFD-CB92D96960E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681163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5D22D7-9AA4-4819-944F-53D8B0B6271D}" type="datetime'''''''''''FY''''26''''''''''''''''''''''''''Q''''''''4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706ED0E-FF54-6810-F089-E81699EA619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374900" y="154463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526F71-8269-4EA5-886A-D6201E51FCA3}" type="datetime'1''''''''''''''''''''''''''''''''''9''''''''.4''''%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F8185FDC-1F53-118D-8B3F-484BD6FDC340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949325" y="9985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DDC7B19-9E74-4732-BEC0-31643AB832A7}" type="datetime'''''1''''''''''''8''.''''''''''''''''''''7''''''''''''''''%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18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B7E104F-9F95-016F-E780-606F6EC04E4C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374900" y="21209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904891-39B7-4191-8C2D-8A7BD02A5F21}" type="datetime'''''''''''7''''''''''''''''''''''2''''''''''''''''''.''''9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9%</a:t>
            </a:fld>
            <a:endParaRPr lang="zh-CN" altLang="en-US" sz="1000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7F8E7DD-F1BC-D21A-3D57-0556E6369C8E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439988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300548-C4F4-4B75-B042-41E6D8438985}" type="datetime'''2''''''''''''''''''''''''''''.''''3''''''''''''''''%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7" name="文本占位符 2">
            <a:extLst>
              <a:ext uri="{FF2B5EF4-FFF2-40B4-BE49-F238E27FC236}">
                <a16:creationId xmlns:a16="http://schemas.microsoft.com/office/drawing/2014/main" id="{9937D8C0-6075-320D-93F4-F8D8D45A580D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455863" y="2730500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0D27CB-1019-4CB7-AE72-17FE2C6847A8}" type="datetime'FY''''''''''''2''''''''''''''''7''''''''''''Q1''''''''td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8053CFDA-6BF0-DEA3-3DA5-B8E42F3800D3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884238" y="60325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E0F131-9977-435E-86CC-6406FAF152DF}" type="datetime'''''''''8''''''''''2''''''''7''''''5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75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16BC409-0EFE-BE16-89B2-EFF95F8FA5CB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724025" y="42703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588425-AE5A-4CD0-93E3-72F50EDDA6E8}" type="datetime'''''9''''''''''''''''''0''''8''''''''''5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085</a:t>
            </a:fld>
            <a:endParaRPr kumimoji="1" lang="zh-CN" altLang="en-US" sz="1400" dirty="0"/>
          </a:p>
        </p:txBody>
      </p:sp>
      <p:sp useBgFill="1">
        <p:nvSpPr>
          <p:cNvPr id="55" name="Text Placeholder 2">
            <a:extLst>
              <a:ext uri="{FF2B5EF4-FFF2-40B4-BE49-F238E27FC236}">
                <a16:creationId xmlns:a16="http://schemas.microsoft.com/office/drawing/2014/main" id="{99A3E6A0-E42A-8BE5-9A29-8E76FB4BDCEC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522538" y="11826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9CB189B-FD19-44B1-B96A-6B35E8C44D66}" type="datetime'''''''''''''''''''''5''''''''''''''1''3''''''''5'''''''">
              <a:rPr kumimoji="1" lang="zh-CN" altLang="en-US" sz="1400" smtClean="0"/>
              <a:pPr/>
              <a:t>5135</a:t>
            </a:fld>
            <a:endParaRPr kumimoji="1" lang="zh-CN" altLang="en-US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88862E1-BCA3-7E39-5C88-82AF20A4193B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42863" y="6715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7F82CC-483E-460D-922E-9927D5C58927}" type="datetime'''79''6''''''''''''''''''''''4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6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67FA713-0234-0107-284C-B3B018E07CF0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93688" y="25336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100DD1-33C6-4884-BC37-7350B0BFB4B8}" type="datetime'''''''''''''''2''''.''''''''''''''6''''''%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66CD2D-037E-C6FB-C078-48E8199B31D2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293688" y="18161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19D18F-DC43-4250-B338-941BE727445E}" type="datetime'''''7''''''9''''''''''''''''''''''''.''''9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31DC63C-6F32-74DC-AAB1-4CE5D37CBBA2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93688" y="10588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CC6773-00F5-45C1-926D-999DF45A231C}" type="datetime'''''''''''''''7''''''''''''''''''''''.3''%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BDCA97F-A7DC-8968-8161-EA86D2EB5FA2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93688" y="9064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8CF472-4CF8-4214-9822-1CACBE8B4757}" type="datetime'''''1''0''''''''''''.''''''''''''''2''''''''''''''''''%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30AC598A-347F-D984-D914-8C2B0C12ED8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0" y="2730500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5B43E-FF3A-44A5-B442-E5231B1ED2D0}" type="datetime'F''''Y''''''26''''''Q''''''''''''''''''2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graphicFrame>
        <p:nvGraphicFramePr>
          <p:cNvPr id="456" name="Chart 3">
            <a:extLst>
              <a:ext uri="{FF2B5EF4-FFF2-40B4-BE49-F238E27FC236}">
                <a16:creationId xmlns:a16="http://schemas.microsoft.com/office/drawing/2014/main" id="{8C1F5A71-17AC-3519-2971-27EB7FFB743E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728449892"/>
              </p:ext>
            </p:extLst>
          </p:nvPr>
        </p:nvGraphicFramePr>
        <p:xfrm>
          <a:off x="3213100" y="474663"/>
          <a:ext cx="2589213" cy="2227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3"/>
          </a:graphicData>
        </a:graphic>
      </p:graphicFrame>
      <p:cxnSp>
        <p:nvCxnSpPr>
          <p:cNvPr id="455" name="直线连接符 454">
            <a:extLst>
              <a:ext uri="{FF2B5EF4-FFF2-40B4-BE49-F238E27FC236}">
                <a16:creationId xmlns:a16="http://schemas.microsoft.com/office/drawing/2014/main" id="{87D5AF4E-FA4D-97C1-3F13-5F50D806C097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5656263" y="1760538"/>
            <a:ext cx="17462" cy="127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0B5EA4C-EA59-E772-9D43-7AFC3DF51A3D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4768850" y="25273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A176A6-A0C4-4242-A068-8D8E1839FAA2}" type="datetime'''''''''2''.''''''6''''''''''''''''''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BCEFD5E-730C-1AD1-5F01-875A13905702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340100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ACD2CA-881B-4A65-BDF1-7AB5DFB5B147}" type="datetime'''''''2''''''.''''''''''''''''''''''''''''0''''''''''''''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7F0BB8D6-5646-E13C-3261-2EEACB6A1A39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175000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777A5B-4224-40C5-8F30-9D83689B8C49}" type="datetime'''''''''''2''''''''月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EBB9B9D8-D33B-71F8-995E-BB7B896CC0A8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3927475" y="77628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1C13AF-D83D-4283-AC1E-3F70CAA81CFF}" type="datetime'2''''''''''''7''.''''''9''''''%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15A08199-B44C-CBE9-B491-E378F022EEC2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3944938" y="12811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B1C21D-D098-4AC3-A10B-FEB0CE290876}" type="datetime'''5''''''''''.''''''''''''''''''''''4''''''''''''%'''''''">
              <a:rPr lang="zh-CN" altLang="en-US" sz="1000" smtClean="0">
                <a:effectLst/>
              </a:rPr>
              <a:pPr/>
              <a:t>5.4%</a:t>
            </a:fld>
            <a:endParaRPr lang="zh-CN" altLang="en-US" sz="1000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0CB893C5-9D0B-658F-9449-00758362BBD8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3927475" y="1849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C7DC41-187C-46E0-B3CA-3CCDE2115DE7}" type="datetime'6''''''''''''''''''''''''''''5''''.''''''''''''''''2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2%</a:t>
            </a:fld>
            <a:endParaRPr lang="zh-CN" altLang="en-US" sz="10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FF77D67E-7105-3B4A-BD38-E37D414E2F43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3960813" y="25368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768CD7-4666-4445-B732-BAF4EF9C504F}" type="datetime'''''''''''''''''1''''''.''''''''''''''''''''''''4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F1C7F617-A79B-3598-99BC-86E6C9073C8D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3983038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865874-E3F6-440D-991F-12FEF04A4902}" type="datetime'''''''''''''''''3''''''''''''月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E0E794B1-E996-8A58-2CB2-D02F484A2E00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4733925" y="11017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B124FD-7D63-4CB9-BC08-45A690FD5463}" type="datetime'2''''5''.3''%''''''''''''''''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25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1ED80C2D-7219-4D3F-AC32-8ED639D0B672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737100" y="13985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E0A459B-EA6F-4233-A749-C3DE3841D3A6}" type="datetime'''''''''5''''''''''''''.''3''''''''''%'">
              <a:rPr lang="zh-CN" altLang="en-US" sz="1000" smtClean="0">
                <a:effectLst/>
              </a:rPr>
              <a:pPr/>
              <a:t>5.3%</a:t>
            </a:fld>
            <a:endParaRPr lang="zh-CN" altLang="en-US" sz="1000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5182D62A-EC70-ADAE-0897-A92970414F91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735513" y="19192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B16986-6349-456E-86DA-B8391DEBC57E}" type="datetime'''''''''''''66''''''''''.7''''''''''''''''''''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7%</a:t>
            </a:fld>
            <a:endParaRPr lang="zh-CN" altLang="en-US" sz="1000" dirty="0"/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E8AEC6F3-7D50-6DC9-3065-0C4DDE0D54C2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340100" y="22145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632B35-321D-4B8F-8FF9-6B99AB1E4681}" type="datetime'7''''''''''6''''''''''''''''.''''''''''''''''2''''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2%</a:t>
            </a:fld>
            <a:endParaRPr lang="zh-CN" altLang="en-US" sz="1000" dirty="0"/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91319FAD-67DF-1DF0-C5E1-65245248C8F8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4791075" y="273050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214-2197-4257-96AB-67AEC7FA68FA}" type="datetime'''''4''''''''''''''''''''''''''''''''''''''''''''月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8BC37D3A-458C-0BED-E2E0-A9B3720AEB5A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424488" y="17732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4A67E1-263F-4D43-A800-6AA8AD8A5BEE}" type="datetime'''''''''''''''''''7''''''''''''''.3''%'">
              <a:rPr lang="zh-CN" altLang="en-US" sz="1000" smtClean="0">
                <a:solidFill>
                  <a:schemeClr val="bg1"/>
                </a:solidFill>
                <a:effectLst/>
              </a:rPr>
              <a:pPr/>
              <a:t>7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0A14E85D-9BC7-84DF-7E30-2A2C6C67B02A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424488" y="19002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8688E0-076C-418B-9172-3A1ED3E6CA75}" type="datetime'''5''''''''''''''''''.''''''''''''''3''''''''''''%'''''">
              <a:rPr lang="zh-CN" altLang="en-US" sz="1000" smtClean="0">
                <a:effectLst/>
              </a:rPr>
              <a:pPr/>
              <a:t>5.3%</a:t>
            </a:fld>
            <a:endParaRPr lang="zh-CN" altLang="en-US" sz="1000" dirty="0"/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6DF55B6C-3BC9-8295-CFDC-1CF72475CD33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322888" y="21732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2B8DB6-CA4D-4EDF-B91D-A11708259E0E}" type="datetime'8''''''''''5.''''''''''''''''''7''%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.7%</a:t>
            </a:fld>
            <a:endParaRPr lang="zh-CN" altLang="en-US" sz="10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5ED45F75-EF97-33B1-4FC0-296F32AE7756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387975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17864F-D3B3-4B13-BF41-530271679CA9}" type="datetime'''''''1''''''''.''''''''''''''''''''''''''''7%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3DA06CC2-3CD6-402B-A97A-7972A18F7D99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5532438" y="2730500"/>
            <a:ext cx="376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EA84DB-D424-49D2-A3A3-A30BE5E89C0E}" type="datetime'''''''5月''''''''''''''''''''''''''''''''td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td</a:t>
            </a:fld>
            <a:endParaRPr lang="zh-CN" altLang="en-US" sz="1200" b="1" dirty="0"/>
          </a:p>
        </p:txBody>
      </p:sp>
      <p:sp useBgFill="1">
        <p:nvSpPr>
          <p:cNvPr id="253" name="Text Placeholder 2">
            <a:extLst>
              <a:ext uri="{FF2B5EF4-FFF2-40B4-BE49-F238E27FC236}">
                <a16:creationId xmlns:a16="http://schemas.microsoft.com/office/drawing/2014/main" id="{9411C509-074E-08B7-C72F-BEC7F2220BD0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089275" y="15652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4473A4-C195-41EC-AA42-51E005E68CBA}" type="datetime'''''1''6''''5''''''''7''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7</a:t>
            </a:fld>
            <a:endParaRPr kumimoji="1" lang="zh-CN" altLang="en-US" sz="1400" dirty="0"/>
          </a:p>
        </p:txBody>
      </p:sp>
      <p:sp useBgFill="1">
        <p:nvSpPr>
          <p:cNvPr id="254" name="Text Placeholder 2">
            <a:extLst>
              <a:ext uri="{FF2B5EF4-FFF2-40B4-BE49-F238E27FC236}">
                <a16:creationId xmlns:a16="http://schemas.microsoft.com/office/drawing/2014/main" id="{7FCE2710-4B6C-4220-F974-64E9A5B68838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3887788" y="4270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6E25C8-8918-4E32-9CA3-CD1EF44B554A}" type="datetime'''''''''4''0''''''''''''''6''''''''''''''''6'''">
              <a:rPr kumimoji="1" lang="zh-CN" altLang="en-US" sz="1400" smtClean="0">
                <a:effectLst/>
              </a:rPr>
              <a:pPr/>
              <a:t>406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255" name="Text Placeholder 2">
            <a:extLst>
              <a:ext uri="{FF2B5EF4-FFF2-40B4-BE49-F238E27FC236}">
                <a16:creationId xmlns:a16="http://schemas.microsoft.com/office/drawing/2014/main" id="{2E4A2FFC-8816-A122-03B6-6DBB9C69B1D3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4705350" y="6492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6F9996-4633-4457-909B-5B9392BF8802}" type="datetime'''''3''''''''''''''''''''''''''''4''''''''''''''62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62</a:t>
            </a:fld>
            <a:endParaRPr kumimoji="1" lang="zh-CN" altLang="en-US" sz="1400" dirty="0"/>
          </a:p>
        </p:txBody>
      </p:sp>
      <p:sp useBgFill="1">
        <p:nvSpPr>
          <p:cNvPr id="256" name="Text Placeholder 2">
            <a:extLst>
              <a:ext uri="{FF2B5EF4-FFF2-40B4-BE49-F238E27FC236}">
                <a16:creationId xmlns:a16="http://schemas.microsoft.com/office/drawing/2014/main" id="{732795CF-0B83-87D7-ABDC-1CEBA4A7C5CA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513388" y="15573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11D5CD-7AD0-4848-BC4B-350D29933762}" type="datetime'''''''1''6''''''''7''3''''''''''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73</a:t>
            </a:fld>
            <a:endParaRPr kumimoji="1" lang="zh-CN" altLang="en-US" sz="1400" dirty="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E66570E8-59B2-A5EC-05EF-4347B0F6A23C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3249613" y="19240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E95460-A3C0-4BE2-B71B-65867AFBE3F7}" type="datetime'''''''''6.3''''''''''''''''''''''''''''%'''">
              <a:rPr lang="zh-CN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9EBB74B8-9A15-2B1C-074D-2549C490BEED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3340100" y="177641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79150-16DB-488D-9C94-1B91F80199E0}" type="datetime'1''''''''''''''''''''''''''''''''5.''''5''''''''''''%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469" name="Chart 3">
            <a:extLst>
              <a:ext uri="{FF2B5EF4-FFF2-40B4-BE49-F238E27FC236}">
                <a16:creationId xmlns:a16="http://schemas.microsoft.com/office/drawing/2014/main" id="{1E42EBBB-AFB8-D432-F986-67BC47D627C8}"/>
              </a:ext>
            </a:extLst>
          </p:cNvPr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4162717075"/>
              </p:ext>
            </p:extLst>
          </p:nvPr>
        </p:nvGraphicFramePr>
        <p:xfrm>
          <a:off x="6046788" y="558800"/>
          <a:ext cx="2854325" cy="2143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4"/>
          </a:graphicData>
        </a:graphic>
      </p:graphicFrame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41BBC5B3-F3DA-B649-1195-6FC4BAC5E932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7745413" y="20177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BF3503-DBE5-44B0-A370-734F0AC19765}" type="datetime'''''''''8''''''''''''7''''''''''''''''''''''''''.''''''''3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.3%</a:t>
            </a:fld>
            <a:endParaRPr lang="zh-CN" altLang="en-US" sz="1000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27BECAEF-9157-0CA6-BA29-83C80550A8ED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6173788" y="20383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703B66-52BC-4E7D-9A68-9A04B51FF09E}" type="datetime'''''''''''''''''6''''''''''''''''''3.''''''''''4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4%</a:t>
            </a:fld>
            <a:endParaRPr lang="zh-CN" altLang="en-US" sz="10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E2D8F133-2128-42BE-09D3-E19F7314EA86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173788" y="25431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88813-CF38-4958-921C-F895716518D4}" type="datetime'''''''''''''''''''''''''''1''.1''''''''''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43B9E7FA-0743-1740-664D-510FC4D9F28F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5926138" y="27305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714D42-8C2F-450A-8C32-6C6BB0AA78EC}" type="datetime'''''''m''''4''''''''''''''''''''''w3''''''''''''''''''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B5A1DFF8-20E4-E232-5386-232E9561DF90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6886575" y="1123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6CCC6F-C7FA-4B76-9394-06F21FAA9540}" type="datetime'''''4''''''''''''''''''''''''''''''3''''''''''.1''''''%'''''''">
              <a:rPr lang="zh-CN" altLang="en-US" sz="1000" smtClean="0">
                <a:solidFill>
                  <a:schemeClr val="bg1"/>
                </a:solidFill>
              </a:rPr>
              <a:pPr/>
              <a:t>43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69C01E72-759A-0231-F88C-6D572C89773E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867525" y="16319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8781B22-1D4F-4BE1-9AAF-C59BB083CFCB}" type="datetime'''4''''.''''''''''''''7''''''''''''''''''''''''''''''''%'''">
              <a:rPr lang="zh-CN" altLang="en-US" sz="1000" smtClean="0">
                <a:effectLst/>
              </a:rPr>
              <a:pPr/>
              <a:t>4.7%</a:t>
            </a:fld>
            <a:endParaRPr lang="zh-CN" altLang="en-US" sz="1000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6129F2D3-85A3-847F-DEFA-E5F26BEE359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6850063" y="20002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1462FE-0791-4101-9B0B-3C4CC40B8213}" type="datetime'''''''''''''''48''''''''''.''''''''''8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8%</a:t>
            </a:fld>
            <a:endParaRPr lang="zh-CN" altLang="en-US" sz="1000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625FC46A-EC3B-EE8C-6F63-1B3FB6156BEA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6883400" y="25177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BECA23-B55E-4838-BF90-E67D7E421B8A}" type="datetime'''''''''''''''''''3''''''''''''''''''''.4''''''%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A98E4BC3-3790-E35F-A412-F3BFB1A84C32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6823075" y="27305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E2F8A2-A7BB-4536-A5AE-4E59507687A0}" type="datetime'''m''''4''''''''''''''''''''''''w''''''''''''''''''''4'">
              <a:rPr lang="zh-CN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2C77FDE6-9428-9D98-1138-0126F8DEDBB1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7778750" y="14271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4D0EDB-5558-4CEF-B78D-55422C7B250F}" type="datetime'''''''''''''''''6''''''''''''''''''.''''''''''6''''''''''%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B0EA5F77-03C0-1203-93CF-93368A5F1C17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7775575" y="16081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8A7B95-0281-4554-85FC-6EA0C20C2E06}" type="datetime'''''''''''3.''''''''''''''''''''''''''9%'''''''''''''''">
              <a:rPr lang="zh-CN" altLang="en-US" sz="1000" smtClean="0">
                <a:effectLst/>
              </a:rPr>
              <a:pPr/>
              <a:t>3.9%</a:t>
            </a:fld>
            <a:endParaRPr lang="zh-CN" altLang="en-US" sz="1000" dirty="0"/>
          </a:p>
        </p:txBody>
      </p:sp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9C4E4AF2-AFC7-72CC-6EA7-F8927218BC46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6173788" y="14970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2F8C87-E1D2-4C79-882B-44762E9C141A}" type="datetime'''''''6''''''.''''''''''0''''''''%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56E522E-25CE-8B3C-8BA6-27948DEA6A05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7778750" y="25384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1E76C5-1C30-45B8-B14C-36C15D0D98BB}" type="datetime'2.''''''2''''''''''''''''''''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BA2076DC-3A6C-7D82-2604-CF13F6B2B4E6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7718425" y="27305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CED561-7B63-4D77-8574-A41FAB975C23}" type="datetime'''m''5w''''''''''''''''1''''''''''''''''''''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91C2BC52-461F-5E4C-AFED-3A4FC79944D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8521700" y="14509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6E72EC2-A3FB-45BF-BE25-5D8339481C28}" type="datetime'''''''9.''''''0''''''''''%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9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5145B0A4-03FE-1629-156B-87D0D096879B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8494713" y="16367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DA18AF-FABF-4DDC-99A4-13BD056865C3}" type="datetime'''''''''''''8''''''''''''.''''''''0''''''''''%'''''''''''''">
              <a:rPr lang="zh-CN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0%</a:t>
            </a:fld>
            <a:endParaRPr lang="zh-CN" altLang="en-US" sz="1000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9E2F08F2-6BA8-D427-A52E-33AFCE50A4A7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8421688" y="20383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3394CD-42A5-4118-8123-D109E970AB1D}" type="datetime'''''''''''''''''''''''''8''''''''1''''.''''''''4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.4%</a:t>
            </a:fld>
            <a:endParaRPr lang="zh-CN" altLang="en-US" sz="10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B5472940-0DBC-D6A3-1FBE-625123C0F1E7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8486775" y="25415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AC911E-32ED-432C-8C30-14B95BFD70F6}" type="datetime'''1''''''''''''''''''''.''''''7''''''''''%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01" name="文本占位符 2">
            <a:extLst>
              <a:ext uri="{FF2B5EF4-FFF2-40B4-BE49-F238E27FC236}">
                <a16:creationId xmlns:a16="http://schemas.microsoft.com/office/drawing/2014/main" id="{91DBF407-37D5-A5F4-CFF7-BE54C1B95B1A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8615363" y="2730500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7E4D87-DA58-491E-9EB5-68E931545977}" type="datetime'''''''''''''''''''''''''''''m''''5''''w''2'''''''''''''">
              <a:rPr lang="en-GB" altLang="en-US" sz="12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 useBgFill="1">
        <p:nvSpPr>
          <p:cNvPr id="302" name="Text Placeholder 2">
            <a:extLst>
              <a:ext uri="{FF2B5EF4-FFF2-40B4-BE49-F238E27FC236}">
                <a16:creationId xmlns:a16="http://schemas.microsoft.com/office/drawing/2014/main" id="{174B5CF0-7B93-90CE-25C1-8D82824871BE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5969000" y="84455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D87A61-44DB-4494-940A-9D47ED99184D}" type="datetime'''8''''6''''''''''''''1''''''''''''''''''''''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1</a:t>
            </a:fld>
            <a:endParaRPr kumimoji="1" lang="zh-CN" altLang="en-US" sz="1400" dirty="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41B69B00-3C9C-6DD0-B433-15B8110C75A3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6819900" y="42703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97C316-9B08-40C1-B534-994DE3C27B9E}" type="datetime'''''''''''''''''''1''09''''''''''''''''''''''''1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91</a:t>
            </a:fld>
            <a:endParaRPr kumimoji="1" lang="zh-CN" altLang="en-US" sz="1400" dirty="0"/>
          </a:p>
        </p:txBody>
      </p:sp>
      <p:sp useBgFill="1">
        <p:nvSpPr>
          <p:cNvPr id="304" name="Text Placeholder 2">
            <a:extLst>
              <a:ext uri="{FF2B5EF4-FFF2-40B4-BE49-F238E27FC236}">
                <a16:creationId xmlns:a16="http://schemas.microsoft.com/office/drawing/2014/main" id="{95E0B79E-3BCC-FE66-3945-DE031244AFCB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7761288" y="124301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6C3D61-63CC-4D4A-9A3D-A0EEDD067DB8}" type="datetime'''''''''''''''''''''''''''''''''6''41''''''''''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1</a:t>
            </a:fld>
            <a:endParaRPr kumimoji="1" lang="zh-CN" altLang="en-US" sz="1400" dirty="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D58036D3-FC9B-4814-88C8-6280D57C8087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8658225" y="119221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849819-96E7-4E63-9C1D-CD79921D5852}" type="datetime'''''''''''''''''''''6''''''''''''''''''''''''''''''''6''''''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9</a:t>
            </a:fld>
            <a:endParaRPr kumimoji="1" lang="zh-CN" altLang="en-US" sz="1400" dirty="0"/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C75E95AB-51ED-74C4-B11A-6FFBE00F8C78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6092825" y="1273175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3FC31B2-3F52-4892-869E-948414B0F231}" type="datetime'''''29''''''''''''''''''.''4''''''''''%''''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29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11" name="文本框 310">
            <a:extLst>
              <a:ext uri="{FF2B5EF4-FFF2-40B4-BE49-F238E27FC236}">
                <a16:creationId xmlns:a16="http://schemas.microsoft.com/office/drawing/2014/main" id="{23A6166B-BCEA-84AD-DCBF-63453A8448FF}"/>
              </a:ext>
            </a:extLst>
          </p:cNvPr>
          <p:cNvSpPr txBox="1"/>
          <p:nvPr/>
        </p:nvSpPr>
        <p:spPr>
          <a:xfrm>
            <a:off x="4151996" y="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渠道</a:t>
            </a:r>
          </a:p>
        </p:txBody>
      </p:sp>
      <p:graphicFrame>
        <p:nvGraphicFramePr>
          <p:cNvPr id="137" name="Chart 3">
            <a:extLst>
              <a:ext uri="{FF2B5EF4-FFF2-40B4-BE49-F238E27FC236}">
                <a16:creationId xmlns:a16="http://schemas.microsoft.com/office/drawing/2014/main" id="{BAD2736F-A853-1F6A-A3E6-3EA020C8AF99}"/>
              </a:ext>
            </a:extLst>
          </p:cNvPr>
          <p:cNvGraphicFramePr/>
          <p:nvPr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1944644708"/>
              </p:ext>
            </p:extLst>
          </p:nvPr>
        </p:nvGraphicFramePr>
        <p:xfrm>
          <a:off x="168275" y="3568700"/>
          <a:ext cx="8936038" cy="2779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5"/>
          </a:graphicData>
        </a:graphic>
      </p:graphicFrame>
      <p:cxnSp>
        <p:nvCxnSpPr>
          <p:cNvPr id="573" name="直线连接符 572">
            <a:extLst>
              <a:ext uri="{FF2B5EF4-FFF2-40B4-BE49-F238E27FC236}">
                <a16:creationId xmlns:a16="http://schemas.microsoft.com/office/drawing/2014/main" id="{90DB0C22-55CD-990D-AD76-7FD024630DB3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5184775" y="612933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8" name="直线连接符 547">
            <a:extLst>
              <a:ext uri="{FF2B5EF4-FFF2-40B4-BE49-F238E27FC236}">
                <a16:creationId xmlns:a16="http://schemas.microsoft.com/office/drawing/2014/main" id="{730779DB-2CB9-9026-14A2-3073740F9BF0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 bwMode="auto">
          <a:xfrm flipV="1">
            <a:off x="4087813" y="578961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3" name="直线连接符 542">
            <a:extLst>
              <a:ext uri="{FF2B5EF4-FFF2-40B4-BE49-F238E27FC236}">
                <a16:creationId xmlns:a16="http://schemas.microsoft.com/office/drawing/2014/main" id="{7A3B1B9F-4BC2-19D6-8F93-AB5F37240BE9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4087813" y="57134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3" name="直线连接符 532">
            <a:extLst>
              <a:ext uri="{FF2B5EF4-FFF2-40B4-BE49-F238E27FC236}">
                <a16:creationId xmlns:a16="http://schemas.microsoft.com/office/drawing/2014/main" id="{B0570E5E-B8E5-EFFB-446B-C3AEC2FC8DD2}"/>
              </a:ext>
            </a:extLst>
          </p:cNvPr>
          <p:cNvCxnSpPr>
            <a:cxnSpLocks/>
          </p:cNvCxnSpPr>
          <p:nvPr>
            <p:custDataLst>
              <p:tags r:id="rId82"/>
            </p:custDataLst>
          </p:nvPr>
        </p:nvCxnSpPr>
        <p:spPr bwMode="auto">
          <a:xfrm flipV="1">
            <a:off x="8472488" y="5957888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9" name="直线连接符 528">
            <a:extLst>
              <a:ext uri="{FF2B5EF4-FFF2-40B4-BE49-F238E27FC236}">
                <a16:creationId xmlns:a16="http://schemas.microsoft.com/office/drawing/2014/main" id="{509E3675-6D2A-FF87-5181-03BD1794A1D0}"/>
              </a:ext>
            </a:extLst>
          </p:cNvPr>
          <p:cNvCxnSpPr>
            <a:cxnSpLocks/>
          </p:cNvCxnSpPr>
          <p:nvPr>
            <p:custDataLst>
              <p:tags r:id="rId83"/>
            </p:custDataLst>
          </p:nvPr>
        </p:nvCxnSpPr>
        <p:spPr bwMode="auto">
          <a:xfrm>
            <a:off x="8472488" y="587533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7" name="直线连接符 566">
            <a:extLst>
              <a:ext uri="{FF2B5EF4-FFF2-40B4-BE49-F238E27FC236}">
                <a16:creationId xmlns:a16="http://schemas.microsoft.com/office/drawing/2014/main" id="{0A95FCD3-F9FF-E4FD-D5EF-098F7B0AF8A7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1895475" y="567848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1" name="直线连接符 510">
            <a:extLst>
              <a:ext uri="{FF2B5EF4-FFF2-40B4-BE49-F238E27FC236}">
                <a16:creationId xmlns:a16="http://schemas.microsoft.com/office/drawing/2014/main" id="{3C9F0A7D-D383-6AA3-5D0F-9C0885EB0FE4}"/>
              </a:ext>
            </a:extLst>
          </p:cNvPr>
          <p:cNvCxnSpPr>
            <a:cxnSpLocks/>
          </p:cNvCxnSpPr>
          <p:nvPr>
            <p:custDataLst>
              <p:tags r:id="rId85"/>
            </p:custDataLst>
          </p:nvPr>
        </p:nvCxnSpPr>
        <p:spPr bwMode="auto">
          <a:xfrm flipV="1">
            <a:off x="6280150" y="5462588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8" name="直线连接符 507">
            <a:extLst>
              <a:ext uri="{FF2B5EF4-FFF2-40B4-BE49-F238E27FC236}">
                <a16:creationId xmlns:a16="http://schemas.microsoft.com/office/drawing/2014/main" id="{82F207D7-BDF7-5DAA-2122-D8043BC505F4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5184775" y="613886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5" name="直线连接符 494">
            <a:extLst>
              <a:ext uri="{FF2B5EF4-FFF2-40B4-BE49-F238E27FC236}">
                <a16:creationId xmlns:a16="http://schemas.microsoft.com/office/drawing/2014/main" id="{A0192A62-A716-FC2C-EA3D-6ABA405B54F2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6280150" y="53911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4" name="直线连接符 493">
            <a:extLst>
              <a:ext uri="{FF2B5EF4-FFF2-40B4-BE49-F238E27FC236}">
                <a16:creationId xmlns:a16="http://schemas.microsoft.com/office/drawing/2014/main" id="{4CCB9205-3CD0-C80F-1E78-68E61C7400D4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5132388" y="6226175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3" name="直线连接符 492">
            <a:extLst>
              <a:ext uri="{FF2B5EF4-FFF2-40B4-BE49-F238E27FC236}">
                <a16:creationId xmlns:a16="http://schemas.microsoft.com/office/drawing/2014/main" id="{C06EE705-7EAE-81D3-595C-2DF07079E21B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auto">
          <a:xfrm>
            <a:off x="798513" y="560228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7" name="直线连接符 476">
            <a:extLst>
              <a:ext uri="{FF2B5EF4-FFF2-40B4-BE49-F238E27FC236}">
                <a16:creationId xmlns:a16="http://schemas.microsoft.com/office/drawing/2014/main" id="{B49AAAF6-5D61-80A0-E220-27DEF0937E9C}"/>
              </a:ext>
            </a:extLst>
          </p:cNvPr>
          <p:cNvCxnSpPr>
            <a:cxnSpLocks/>
          </p:cNvCxnSpPr>
          <p:nvPr>
            <p:custDataLst>
              <p:tags r:id="rId90"/>
            </p:custDataLst>
          </p:nvPr>
        </p:nvCxnSpPr>
        <p:spPr bwMode="auto">
          <a:xfrm flipV="1">
            <a:off x="798513" y="5680075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9" name="直线连接符 578">
            <a:extLst>
              <a:ext uri="{FF2B5EF4-FFF2-40B4-BE49-F238E27FC236}">
                <a16:creationId xmlns:a16="http://schemas.microsoft.com/office/drawing/2014/main" id="{C3E2E711-7210-BB2A-B946-C39453FA3FA8}"/>
              </a:ext>
            </a:extLst>
          </p:cNvPr>
          <p:cNvCxnSpPr>
            <a:cxnSpLocks/>
          </p:cNvCxnSpPr>
          <p:nvPr>
            <p:custDataLst>
              <p:tags r:id="rId91"/>
            </p:custDataLst>
          </p:nvPr>
        </p:nvCxnSpPr>
        <p:spPr bwMode="auto">
          <a:xfrm>
            <a:off x="7377113" y="583247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8EFE7BFF-0766-0BAB-9DF4-A9E631AC5DE9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6178550" y="63769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C20A8F-7285-451D-B24A-9E9CE088CEC7}" type="datetime'''''''''''''''''''''''''''''''''''''''''''3月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12C15E00-578C-99E5-FEE5-10F15B8E16B6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588963" y="63769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CD8E9-2A94-43A0-8ECE-277CBF141D79}" type="datetime'''F''''''''''''Y''''''''''''''2''6''Q''''''''2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393" name="Text Placeholder 2">
            <a:extLst>
              <a:ext uri="{FF2B5EF4-FFF2-40B4-BE49-F238E27FC236}">
                <a16:creationId xmlns:a16="http://schemas.microsoft.com/office/drawing/2014/main" id="{731C3521-D363-BCE0-C526-FBE8087DDC4E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3878263" y="63769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75FC6-5896-4EB3-B83C-97D139B4F4C6}" type="datetime'''''''F''''''''Y''''''27''''''''''''''''''''''Q1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550" name="Text Placeholder 2">
            <a:extLst>
              <a:ext uri="{FF2B5EF4-FFF2-40B4-BE49-F238E27FC236}">
                <a16:creationId xmlns:a16="http://schemas.microsoft.com/office/drawing/2014/main" id="{B1169867-16B1-2071-BFF0-FB616964EA59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5021263" y="5992813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5795FE-FB18-4681-A434-1812120A6A22}" type="datetime'-''''''2.''''''''''''''''''''''''''''''''''3%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3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612" name="Text Placeholder 2">
            <a:extLst>
              <a:ext uri="{FF2B5EF4-FFF2-40B4-BE49-F238E27FC236}">
                <a16:creationId xmlns:a16="http://schemas.microsoft.com/office/drawing/2014/main" id="{883EC0B9-5212-5949-6EDE-7DFBE425B953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3910013" y="58293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3596E8-42FC-4893-AADB-F1E720141C57}" type="datetime'4''''''''''0.''''''''''4''''''''''''''%'''''''''''''''''''">
              <a:rPr lang="zh-CN" altLang="en-US" sz="10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51" name="Text Placeholder 2">
            <a:extLst>
              <a:ext uri="{FF2B5EF4-FFF2-40B4-BE49-F238E27FC236}">
                <a16:creationId xmlns:a16="http://schemas.microsoft.com/office/drawing/2014/main" id="{00B4FC66-01A1-350E-F42A-B1A2B67C436A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021263" y="6002338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F81F1C-4E73-4990-AA12-ADF8ECDB2BCF}" type="datetime'''-''''3''.4''''''''''''''''''''''''''''''''''''''''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.4%</a:t>
            </a:fld>
            <a:endParaRPr lang="zh-CN" altLang="en-US" sz="1000" b="1" dirty="0"/>
          </a:p>
        </p:txBody>
      </p:sp>
      <p:sp>
        <p:nvSpPr>
          <p:cNvPr id="552" name="Text Placeholder 2">
            <a:extLst>
              <a:ext uri="{FF2B5EF4-FFF2-40B4-BE49-F238E27FC236}">
                <a16:creationId xmlns:a16="http://schemas.microsoft.com/office/drawing/2014/main" id="{809FC13B-752A-862A-BD0A-4996C87616AC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5006975" y="5548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7F9948-2A6A-4BFC-BA2C-D63B502B5257}" type="datetime'''''4''''''''''''''''4''''''''''''.''''''''4''''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4%</a:t>
            </a:fld>
            <a:endParaRPr lang="zh-CN" altLang="en-US" sz="1000" b="1" dirty="0"/>
          </a:p>
        </p:txBody>
      </p:sp>
      <p:sp useBgFill="1">
        <p:nvSpPr>
          <p:cNvPr id="553" name="Text Placeholder 2">
            <a:extLst>
              <a:ext uri="{FF2B5EF4-FFF2-40B4-BE49-F238E27FC236}">
                <a16:creationId xmlns:a16="http://schemas.microsoft.com/office/drawing/2014/main" id="{5A8F0CC6-31D0-61CB-4FEA-B967C4BBE45B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4803775" y="6157913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F2AFFA9-5665-4E7F-AE38-F320F0601316}" type="datetime'''''''''''-''''''''''''''''7''''.''''''''''''0''%'''''''''">
              <a:rPr lang="zh-CN" altLang="en-US" sz="10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7.0%</a:t>
            </a:fld>
            <a:endParaRPr lang="zh-CN" altLang="en-US" sz="1000" b="1" dirty="0"/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B1115B1A-71F0-00C0-080F-C1E147564CDE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5083175" y="63769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391045-09E1-4CF3-8738-B3D4BF9D11B0}" type="datetime'''''''''''''''''''2''''''''''''''''''''''''''''''''''月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614" name="Text Placeholder 2">
            <a:extLst>
              <a:ext uri="{FF2B5EF4-FFF2-40B4-BE49-F238E27FC236}">
                <a16:creationId xmlns:a16="http://schemas.microsoft.com/office/drawing/2014/main" id="{A316E7B5-6C85-5AD4-DE4B-FCEC693892AA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102350" y="55022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FBD25B-3C16-4829-943A-7136CA4BFF31}" type="datetime'''''''7''''''''''''''''''''''''4''''.''9''%'''''''''">
              <a:rPr lang="zh-CN" altLang="en-US" sz="10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554" name="Text Placeholder 2">
            <a:extLst>
              <a:ext uri="{FF2B5EF4-FFF2-40B4-BE49-F238E27FC236}">
                <a16:creationId xmlns:a16="http://schemas.microsoft.com/office/drawing/2014/main" id="{4502925F-65CF-9587-AAF2-6DCE038A9CBF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070600" y="346233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649004-A86A-4EC3-9427-6865B5D29ECC}" type="datetime'''''''''''''''''2''''6''''''''''''''''''4''.''1''''''%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4.1%</a:t>
            </a:fld>
            <a:endParaRPr lang="zh-CN" altLang="en-US" sz="1000" b="1" dirty="0"/>
          </a:p>
        </p:txBody>
      </p:sp>
      <p:sp>
        <p:nvSpPr>
          <p:cNvPr id="555" name="Text Placeholder 2">
            <a:extLst>
              <a:ext uri="{FF2B5EF4-FFF2-40B4-BE49-F238E27FC236}">
                <a16:creationId xmlns:a16="http://schemas.microsoft.com/office/drawing/2014/main" id="{BAB2DCB6-FF3B-2674-10E3-5BFB78C8A0C7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6102350" y="52546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B7849C-2E28-49F9-AF9B-76622AF8F0C7}" type="datetime'''''''''''''''''''''''75.4''''''''''%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.4%</a:t>
            </a:fld>
            <a:endParaRPr lang="zh-CN" altLang="en-US" sz="1000" b="1" dirty="0"/>
          </a:p>
        </p:txBody>
      </p:sp>
      <p:sp>
        <p:nvSpPr>
          <p:cNvPr id="556" name="Text Placeholder 2">
            <a:extLst>
              <a:ext uri="{FF2B5EF4-FFF2-40B4-BE49-F238E27FC236}">
                <a16:creationId xmlns:a16="http://schemas.microsoft.com/office/drawing/2014/main" id="{95F3D22E-FC3C-B868-7B01-F2DDCD39EAE8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6102350" y="58293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0383F0-E4AD-465C-8974-1BCC3B297891}" type="datetime'''''''''''''4''''0.''''''''5''''''''''%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5%</a:t>
            </a:fld>
            <a:endParaRPr lang="zh-CN" altLang="en-US" sz="1000" b="1" dirty="0"/>
          </a:p>
        </p:txBody>
      </p:sp>
      <p:sp useBgFill="1">
        <p:nvSpPr>
          <p:cNvPr id="611" name="Text Placeholder 2">
            <a:extLst>
              <a:ext uri="{FF2B5EF4-FFF2-40B4-BE49-F238E27FC236}">
                <a16:creationId xmlns:a16="http://schemas.microsoft.com/office/drawing/2014/main" id="{2585C3AE-BF27-A58C-A544-9BB8641D55FE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3878263" y="49736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1D5A8E-CA32-41D7-B29F-EEB4A9189871}" type="datetime'''''''''''''''1''''''0''''''5''''.''''''''''''''0''''%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615" name="Text Placeholder 2">
            <a:extLst>
              <a:ext uri="{FF2B5EF4-FFF2-40B4-BE49-F238E27FC236}">
                <a16:creationId xmlns:a16="http://schemas.microsoft.com/office/drawing/2014/main" id="{D79C8929-4FCD-C874-A384-6AA074384607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7199313" y="5487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CB5928-B2C3-425F-9EB9-284DA68ABD91}" type="datetime'''''''''5''''0''''''''''''.''''''''8''''''''''''%'''''''''''''">
              <a:rPr lang="zh-CN" altLang="en-US" sz="1000" b="1" smtClean="0">
                <a:solidFill>
                  <a:srgbClr val="000000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8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616" name="Text Placeholder 2">
            <a:extLst>
              <a:ext uri="{FF2B5EF4-FFF2-40B4-BE49-F238E27FC236}">
                <a16:creationId xmlns:a16="http://schemas.microsoft.com/office/drawing/2014/main" id="{1F9522ED-7881-AAAC-54CB-3FC0D7E82E97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167563" y="4589463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1795E4-7202-45E1-AC93-FEACD4F820A1}" type="datetime'''14''''5''''.''''''4''''''''''''%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5.4%</a:t>
            </a:fld>
            <a:endParaRPr lang="zh-CN" altLang="en-US" sz="1000" b="1" dirty="0"/>
          </a:p>
        </p:txBody>
      </p:sp>
      <p:sp>
        <p:nvSpPr>
          <p:cNvPr id="617" name="Text Placeholder 2">
            <a:extLst>
              <a:ext uri="{FF2B5EF4-FFF2-40B4-BE49-F238E27FC236}">
                <a16:creationId xmlns:a16="http://schemas.microsoft.com/office/drawing/2014/main" id="{F94635D7-2CA3-4950-80C5-D107B28FF7BB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199313" y="59737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563993-5422-4451-8DB7-B2233F8EA77D}" type="datetime'''''''''''''''2''''''''''5''''''''.''2%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.2%</a:t>
            </a:fld>
            <a:endParaRPr lang="zh-CN" altLang="en-US" sz="1000" b="1" dirty="0"/>
          </a:p>
        </p:txBody>
      </p:sp>
      <p:sp useBgFill="1">
        <p:nvSpPr>
          <p:cNvPr id="618" name="Text Placeholder 2">
            <a:extLst>
              <a:ext uri="{FF2B5EF4-FFF2-40B4-BE49-F238E27FC236}">
                <a16:creationId xmlns:a16="http://schemas.microsoft.com/office/drawing/2014/main" id="{2BC0F3A9-D911-8975-ECE9-B4B466A0F859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7199313" y="56959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13A95F-42E0-4A6C-84D8-CE6C29C32459}" type="datetime'2''''9''''''''''''.''''''''''''0''''''''''%''''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0%</a:t>
            </a:fld>
            <a:endParaRPr lang="zh-CN" altLang="en-US" sz="1000" b="1" dirty="0"/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73EB83F7-572C-7FC1-3B63-1C33F0DD4D2D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3910013" y="55768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61444F-F4A3-4D4B-92E5-71CC84E74251}" type="datetime'''''''''''''''''''4''''''''''''1.''''''''''''4%'''''''''''''">
              <a:rPr lang="zh-CN" altLang="en-US" sz="10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4%</a:t>
            </a:fld>
            <a:endParaRPr lang="zh-CN" altLang="en-US" sz="1000" b="1" dirty="0">
              <a:solidFill>
                <a:srgbClr val="000000"/>
              </a:solidFill>
              <a:ea typeface="等线" panose="02010600030101010101" pitchFamily="2" charset="-122"/>
            </a:endParaRPr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1B939681-5803-A071-AC3F-C34AAB332D3C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7275513" y="63769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835E39-39EB-4FD3-B717-C6C18DE7793B}" type="datetime'''''4''''''月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6573DD8F-0063-E19A-3AA7-ECA30D7EADCD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8262938" y="63769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908DFA-9051-4A5D-BC0A-323E5938615A}" type="datetime'''''5''''''''''''月''mt''''''''''''''''''''''''d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472" name="Text Placeholder 2">
            <a:extLst>
              <a:ext uri="{FF2B5EF4-FFF2-40B4-BE49-F238E27FC236}">
                <a16:creationId xmlns:a16="http://schemas.microsoft.com/office/drawing/2014/main" id="{9ECB8FC8-7BB6-84B7-D4D9-B7308126FAE0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620713" y="57197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134744-56DF-476F-89B1-4A9909E9D0A3}" type="datetime'''''''''''''52''''.''''0''''''''''''''''''''''''''''%'''''''">
              <a:rPr lang="zh-CN" altLang="en-US" sz="1000" b="1" smtClean="0">
                <a:solidFill>
                  <a:srgbClr val="000000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0%</a:t>
            </a:fld>
            <a:endParaRPr lang="zh-CN" altLang="en-US" sz="1000" b="1" dirty="0">
              <a:solidFill>
                <a:srgbClr val="000000"/>
              </a:solidFill>
              <a:ea typeface="等线" panose="02010600030101010101" pitchFamily="2" charset="-122"/>
            </a:endParaRPr>
          </a:p>
        </p:txBody>
      </p:sp>
      <p:sp>
        <p:nvSpPr>
          <p:cNvPr id="473" name="Text Placeholder 2">
            <a:extLst>
              <a:ext uri="{FF2B5EF4-FFF2-40B4-BE49-F238E27FC236}">
                <a16:creationId xmlns:a16="http://schemas.microsoft.com/office/drawing/2014/main" id="{5A361BE1-D3EB-78A9-4708-AB23B1A2247E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635000" y="5983288"/>
            <a:ext cx="3286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9E38CA-386B-4F5C-A2FB-938176148061}" type="datetime'''''''''''-1.''''''''3''%'''''''">
              <a:rPr lang="zh-CN" altLang="en-US" sz="10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5F3BB55F-AE68-3288-F57C-3157C3692984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gray">
          <a:xfrm>
            <a:off x="588963" y="481171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3E405C-5A0B-4FA3-9A5B-E56E4D08AFD7}" type="datetime'1''''''''2''2''''''''''.''''''''''''''1''''''''''''%'''''''''">
              <a:rPr lang="zh-CN" altLang="en-US" sz="10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2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CE83CD39-B9D3-DBC2-4ECD-35AE1CC996F4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620713" y="54657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CF0477-83C3-4598-B831-A5C5F0588861}" type="datetime'''''5''''''''''''''''''''3.2''''''''''''''''%''''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CD24BCC0-E228-B157-3BDD-DB21BEA82B28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2781300" y="63769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C60709-67AA-4CCC-B43B-D56AAB66184D}" type="datetime'''F''Y''''''''''''2''''''''''''6''''''''''''''Q''4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542" name="Text Placeholder 2">
            <a:extLst>
              <a:ext uri="{FF2B5EF4-FFF2-40B4-BE49-F238E27FC236}">
                <a16:creationId xmlns:a16="http://schemas.microsoft.com/office/drawing/2014/main" id="{75C6A9D1-B2ED-A20B-EC52-39043A0AFE6D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2813050" y="58277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67BC7B-6F68-421A-877F-AC88E487370D}" type="datetime'''4''''''''''''0''''''.''''6''''''''%''''''''''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6%</a:t>
            </a:fld>
            <a:endParaRPr lang="zh-CN" altLang="en-US" sz="1000" b="1" dirty="0"/>
          </a:p>
        </p:txBody>
      </p:sp>
      <p:sp useBgFill="1">
        <p:nvSpPr>
          <p:cNvPr id="537" name="Text Placeholder 2">
            <a:extLst>
              <a:ext uri="{FF2B5EF4-FFF2-40B4-BE49-F238E27FC236}">
                <a16:creationId xmlns:a16="http://schemas.microsoft.com/office/drawing/2014/main" id="{90B3384F-66FA-1893-51CF-D61C6C462753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gray">
          <a:xfrm>
            <a:off x="2813050" y="51022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166E0D-5C54-4CB2-AF29-9C4A269EF47F}" type="datetime'''''''''''''''''9''''''''''''1''.''''''''''''5''''''''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.5%</a:t>
            </a:fld>
            <a:endParaRPr lang="zh-CN" altLang="en-US" sz="1000" b="1" dirty="0"/>
          </a:p>
        </p:txBody>
      </p:sp>
      <p:sp>
        <p:nvSpPr>
          <p:cNvPr id="608" name="Text Placeholder 2">
            <a:extLst>
              <a:ext uri="{FF2B5EF4-FFF2-40B4-BE49-F238E27FC236}">
                <a16:creationId xmlns:a16="http://schemas.microsoft.com/office/drawing/2014/main" id="{31662677-074E-19A8-C765-73B533D47E56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2781300" y="36766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2ED25A-858D-42F1-B768-CED32A69073A}" type="datetime'''''''2''''''4''''''1.''''''''''''''''''5''''''''''%''''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1.5%</a:t>
            </a:fld>
            <a:endParaRPr lang="zh-CN" altLang="en-US" sz="1000" b="1" dirty="0"/>
          </a:p>
        </p:txBody>
      </p:sp>
      <p:sp>
        <p:nvSpPr>
          <p:cNvPr id="606" name="Text Placeholder 2">
            <a:extLst>
              <a:ext uri="{FF2B5EF4-FFF2-40B4-BE49-F238E27FC236}">
                <a16:creationId xmlns:a16="http://schemas.microsoft.com/office/drawing/2014/main" id="{93CD0B23-6FBE-1ADA-5F2F-F7BFC3927998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gray">
          <a:xfrm>
            <a:off x="2813050" y="55102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02F511-65BC-4B0C-8751-41BAFCB53BE3}" type="datetime'''''7''4''''''''.0''''''''''''''''''%'''''''''''''''''''''''">
              <a:rPr lang="zh-CN" altLang="en-US" sz="10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0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D4B600F2-6E5A-4D71-57F8-D9C30539F513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auto">
          <a:xfrm>
            <a:off x="1685925" y="63769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5608C-E0BF-4939-A76E-04CF07EE6576}" type="datetime'''FY''''''26''''''''Q3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518" name="Text Placeholder 2">
            <a:extLst>
              <a:ext uri="{FF2B5EF4-FFF2-40B4-BE49-F238E27FC236}">
                <a16:creationId xmlns:a16="http://schemas.microsoft.com/office/drawing/2014/main" id="{8522A223-DDB8-FF94-80C1-04748717A17A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8294688" y="57388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8564D6-1C52-45CB-944E-DFBA1323DF0E}" type="datetime'''''2''''''''4.''4''%'''''''''''''''''''''''''''''">
              <a:rPr lang="zh-CN" altLang="en-US" sz="1000" b="1" smtClean="0">
                <a:solidFill>
                  <a:srgbClr val="000000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4%</a:t>
            </a:fld>
            <a:endParaRPr lang="zh-CN" altLang="en-US" sz="1000" b="1" dirty="0">
              <a:solidFill>
                <a:srgbClr val="000000"/>
              </a:solidFill>
              <a:ea typeface="等线" panose="02010600030101010101" pitchFamily="2" charset="-122"/>
            </a:endParaRPr>
          </a:p>
        </p:txBody>
      </p:sp>
      <p:sp>
        <p:nvSpPr>
          <p:cNvPr id="521" name="Text Placeholder 2">
            <a:extLst>
              <a:ext uri="{FF2B5EF4-FFF2-40B4-BE49-F238E27FC236}">
                <a16:creationId xmlns:a16="http://schemas.microsoft.com/office/drawing/2014/main" id="{DD482AFA-C7A4-AF7B-B74E-9D3AF2E83D7A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8026400" y="6197600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ED5A32D-9E99-453B-A15B-EB83F498F571}" type="datetime'''''-''''''''1''''''''''''''''''''''''1''''''.''2''%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1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24" name="Text Placeholder 2">
            <a:extLst>
              <a:ext uri="{FF2B5EF4-FFF2-40B4-BE49-F238E27FC236}">
                <a16:creationId xmlns:a16="http://schemas.microsoft.com/office/drawing/2014/main" id="{D375230B-3B2C-0ADF-C52B-81CD6D9E959B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gray">
          <a:xfrm>
            <a:off x="8294688" y="50450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CEB1A1-B375-48E0-B954-71796B58ABF7}" type="datetime'''''''''''''''9''7.''''''''''''''''''''''4''''''%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27" name="Text Placeholder 2">
            <a:extLst>
              <a:ext uri="{FF2B5EF4-FFF2-40B4-BE49-F238E27FC236}">
                <a16:creationId xmlns:a16="http://schemas.microsoft.com/office/drawing/2014/main" id="{F92C1FF8-6A77-F7EB-0DA4-C8A98E330E07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gray">
          <a:xfrm>
            <a:off x="8294688" y="59975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18C70F-8E91-44F8-8B06-7FE54418B9D2}" type="datetime'''''2''''2''''.''''''''''''''''''''''''''8''''''''''%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.8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36" name="Text Placeholder 2">
            <a:extLst>
              <a:ext uri="{FF2B5EF4-FFF2-40B4-BE49-F238E27FC236}">
                <a16:creationId xmlns:a16="http://schemas.microsoft.com/office/drawing/2014/main" id="{DE05B317-1165-EE8A-21F4-D9779BD947E6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1717675" y="55419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F09E33-9C61-44B9-AE8B-D6338232FFE5}" type="datetime'''4''''''''''''''5''''''''''.''''''''''''''''2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605" name="Text Placeholder 2">
            <a:extLst>
              <a:ext uri="{FF2B5EF4-FFF2-40B4-BE49-F238E27FC236}">
                <a16:creationId xmlns:a16="http://schemas.microsoft.com/office/drawing/2014/main" id="{7DF0C024-B4DB-7027-D618-C3635303F72B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1685925" y="44751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73F2B8-5E36-415C-AD58-41CA92E70B4F}" type="datetime'''''1''''''''''''''''''5''''''''''''''''''''''7''''''.''5%'">
              <a:rPr lang="zh-CN" altLang="en-US" sz="10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7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602" name="Text Placeholder 2">
            <a:extLst>
              <a:ext uri="{FF2B5EF4-FFF2-40B4-BE49-F238E27FC236}">
                <a16:creationId xmlns:a16="http://schemas.microsoft.com/office/drawing/2014/main" id="{D5A4CDC3-4E7F-B642-9873-7CDBF82F62A6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gray">
          <a:xfrm>
            <a:off x="1717675" y="59880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56317D-AB87-4602-8BCC-70C716E23D3D}" type="datetime'''''''''2''''''''''''3''.''''7''''%'''''''''''''''''''">
              <a:rPr lang="zh-CN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7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601" name="Text Placeholder 2">
            <a:extLst>
              <a:ext uri="{FF2B5EF4-FFF2-40B4-BE49-F238E27FC236}">
                <a16:creationId xmlns:a16="http://schemas.microsoft.com/office/drawing/2014/main" id="{89CBEB02-768A-4BC3-A845-83597FED4176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gray">
          <a:xfrm>
            <a:off x="1717675" y="55197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32A95D-974C-4B2C-9E14-8E5202134852}" type="datetime'''''''''''''4''7''''''.4%'''''''''''''''">
              <a:rPr lang="zh-CN" altLang="en-US" sz="10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4%</a:t>
            </a:fld>
            <a:endParaRPr lang="zh-CN" altLang="en-US" sz="1000" b="1" dirty="0">
              <a:solidFill>
                <a:srgbClr val="000000"/>
              </a:solidFill>
              <a:ea typeface="等线" panose="02010600030101010101" pitchFamily="2" charset="-122"/>
            </a:endParaRPr>
          </a:p>
        </p:txBody>
      </p:sp>
      <p:sp>
        <p:nvSpPr>
          <p:cNvPr id="549" name="Text Placeholder 2">
            <a:extLst>
              <a:ext uri="{FF2B5EF4-FFF2-40B4-BE49-F238E27FC236}">
                <a16:creationId xmlns:a16="http://schemas.microsoft.com/office/drawing/2014/main" id="{750F4062-2673-095C-647C-57FA88FE2B1C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gray">
          <a:xfrm>
            <a:off x="3924300" y="60118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F22CF6D-D8CC-48C4-9B4D-1A828053237A}" type="datetime'''''2''6''''''''''''''.''6''''''''''''''%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98" name="文本框 597">
            <a:extLst>
              <a:ext uri="{FF2B5EF4-FFF2-40B4-BE49-F238E27FC236}">
                <a16:creationId xmlns:a16="http://schemas.microsoft.com/office/drawing/2014/main" id="{D2A026BB-4123-346B-8A57-74EE893AF79A}"/>
              </a:ext>
            </a:extLst>
          </p:cNvPr>
          <p:cNvSpPr txBox="1"/>
          <p:nvPr/>
        </p:nvSpPr>
        <p:spPr>
          <a:xfrm>
            <a:off x="3494774" y="3285092"/>
            <a:ext cx="2138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渠道</a:t>
            </a:r>
            <a:r>
              <a:rPr kumimoji="1" lang="en-US" altLang="zh-CN" b="1" dirty="0"/>
              <a:t>by</a:t>
            </a:r>
            <a:r>
              <a:rPr kumimoji="1" lang="zh-CN" altLang="en-US" b="1" dirty="0"/>
              <a:t>收入类型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  <p:cxnSp>
        <p:nvCxnSpPr>
          <p:cNvPr id="590" name="直线连接符 589">
            <a:extLst>
              <a:ext uri="{FF2B5EF4-FFF2-40B4-BE49-F238E27FC236}">
                <a16:creationId xmlns:a16="http://schemas.microsoft.com/office/drawing/2014/main" id="{E90FB265-65AC-8D2C-7E50-AAEFD09295A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>
            <a:off x="260350" y="6630988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1" name="直线连接符 590">
            <a:extLst>
              <a:ext uri="{FF2B5EF4-FFF2-40B4-BE49-F238E27FC236}">
                <a16:creationId xmlns:a16="http://schemas.microsoft.com/office/drawing/2014/main" id="{CC76CED6-787C-6263-1D1A-EF24EF6B6F10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1155700" y="6630988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2" name="直线连接符 591">
            <a:extLst>
              <a:ext uri="{FF2B5EF4-FFF2-40B4-BE49-F238E27FC236}">
                <a16:creationId xmlns:a16="http://schemas.microsoft.com/office/drawing/2014/main" id="{55B0796E-4FD1-B1A7-888E-F4ADD8E90E57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gray">
          <a:xfrm>
            <a:off x="2178050" y="6630988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3" name="直线连接符 592">
            <a:extLst>
              <a:ext uri="{FF2B5EF4-FFF2-40B4-BE49-F238E27FC236}">
                <a16:creationId xmlns:a16="http://schemas.microsoft.com/office/drawing/2014/main" id="{BC9C032A-B65F-920F-5106-2D4C5A2E2E4F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>
            <a:off x="3200400" y="6630988"/>
            <a:ext cx="3429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7" name="Text Placeholder 2">
            <a:extLst>
              <a:ext uri="{FF2B5EF4-FFF2-40B4-BE49-F238E27FC236}">
                <a16:creationId xmlns:a16="http://schemas.microsoft.com/office/drawing/2014/main" id="{DA554887-E1F9-2262-52D9-5C1666A0DD13}"/>
              </a:ext>
            </a:extLst>
          </p:cNvPr>
          <p:cNvSpPr txBox="1">
            <a:spLocks/>
          </p:cNvSpPr>
          <p:nvPr>
            <p:custDataLst>
              <p:tags r:id="rId136"/>
            </p:custDataLst>
          </p:nvPr>
        </p:nvSpPr>
        <p:spPr bwMode="auto">
          <a:xfrm>
            <a:off x="663575" y="6572250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AB24D0-BC91-4758-B1EA-32291139F4D9}" type="datetime'''总''''''收''''''''''''''''''''入''''''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8" name="Text Placeholder 2">
            <a:extLst>
              <a:ext uri="{FF2B5EF4-FFF2-40B4-BE49-F238E27FC236}">
                <a16:creationId xmlns:a16="http://schemas.microsoft.com/office/drawing/2014/main" id="{261CC53A-897B-D914-4DFE-175AFA12FCA4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auto">
          <a:xfrm>
            <a:off x="1558925" y="6572250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3380EBD-48B8-451C-94D0-FD2D39F34CF0}" type="datetime'新''''''''''''''签''''''''''''''''''''''年''''费'''''''">
              <a:rPr lang="zh-CN" altLang="en-US" sz="1000" b="1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9" name="Text Placeholder 2">
            <a:extLst>
              <a:ext uri="{FF2B5EF4-FFF2-40B4-BE49-F238E27FC236}">
                <a16:creationId xmlns:a16="http://schemas.microsoft.com/office/drawing/2014/main" id="{A045FFEC-976E-1559-C2C3-87D0221C8DCA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auto">
          <a:xfrm>
            <a:off x="2581275" y="6572250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B8280C-511B-40DA-A355-AAFA7F598B52}" type="datetime'''''续''''签年''''''''''''''''''''''''''''''''费'''''''''''">
              <a:rPr lang="zh-CN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lang="zh-CN" altLang="en-US" sz="1000" b="1" dirty="0"/>
          </a:p>
        </p:txBody>
      </p:sp>
      <p:sp>
        <p:nvSpPr>
          <p:cNvPr id="490" name="Text Placeholder 2">
            <a:extLst>
              <a:ext uri="{FF2B5EF4-FFF2-40B4-BE49-F238E27FC236}">
                <a16:creationId xmlns:a16="http://schemas.microsoft.com/office/drawing/2014/main" id="{7E5C5373-464D-3646-A593-646DA59F0EAC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3603625" y="6572250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606298-5B4B-49AA-AF24-37D25F72A4C5}" type="datetime'''''''''''''''''''''效''果''''''广''告'''''''''''''''">
              <a:rPr lang="zh-CN" altLang="en-US" sz="1000" b="1" smtClean="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效果广告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32" name="矩形 131">
            <a:extLst>
              <a:ext uri="{FF2B5EF4-FFF2-40B4-BE49-F238E27FC236}">
                <a16:creationId xmlns:a16="http://schemas.microsoft.com/office/drawing/2014/main" id="{D68A0431-FA2E-8DC1-8172-635C611A9302}"/>
              </a:ext>
            </a:extLst>
          </p:cNvPr>
          <p:cNvSpPr/>
          <p:nvPr>
            <p:custDataLst>
              <p:tags r:id="rId140"/>
            </p:custDataLst>
          </p:nvPr>
        </p:nvSpPr>
        <p:spPr bwMode="auto">
          <a:xfrm>
            <a:off x="71438" y="296703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3" name="矩形 132">
            <a:extLst>
              <a:ext uri="{FF2B5EF4-FFF2-40B4-BE49-F238E27FC236}">
                <a16:creationId xmlns:a16="http://schemas.microsoft.com/office/drawing/2014/main" id="{84024C52-418B-A1EB-2B9E-7BBA858F74E5}"/>
              </a:ext>
            </a:extLst>
          </p:cNvPr>
          <p:cNvSpPr/>
          <p:nvPr>
            <p:custDataLst>
              <p:tags r:id="rId141"/>
            </p:custDataLst>
          </p:nvPr>
        </p:nvSpPr>
        <p:spPr bwMode="auto">
          <a:xfrm>
            <a:off x="1185863" y="296703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4" name="矩形 133">
            <a:extLst>
              <a:ext uri="{FF2B5EF4-FFF2-40B4-BE49-F238E27FC236}">
                <a16:creationId xmlns:a16="http://schemas.microsoft.com/office/drawing/2014/main" id="{E92F261B-D06B-6457-79C8-B038AA0840D4}"/>
              </a:ext>
            </a:extLst>
          </p:cNvPr>
          <p:cNvSpPr/>
          <p:nvPr>
            <p:custDataLst>
              <p:tags r:id="rId142"/>
            </p:custDataLst>
          </p:nvPr>
        </p:nvSpPr>
        <p:spPr bwMode="auto">
          <a:xfrm>
            <a:off x="2300288" y="296703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5" name="矩形 134">
            <a:extLst>
              <a:ext uri="{FF2B5EF4-FFF2-40B4-BE49-F238E27FC236}">
                <a16:creationId xmlns:a16="http://schemas.microsoft.com/office/drawing/2014/main" id="{7D1EF96A-18F0-7775-798C-F0A2DA60F873}"/>
              </a:ext>
            </a:extLst>
          </p:cNvPr>
          <p:cNvSpPr/>
          <p:nvPr>
            <p:custDataLst>
              <p:tags r:id="rId143"/>
            </p:custDataLst>
          </p:nvPr>
        </p:nvSpPr>
        <p:spPr bwMode="auto">
          <a:xfrm>
            <a:off x="3770313" y="296703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74" name="Text Placeholder 2">
            <a:extLst>
              <a:ext uri="{FF2B5EF4-FFF2-40B4-BE49-F238E27FC236}">
                <a16:creationId xmlns:a16="http://schemas.microsoft.com/office/drawing/2014/main" id="{DB6A80DD-62CD-8493-5590-B98DD51A3416}"/>
              </a:ext>
            </a:extLst>
          </p:cNvPr>
          <p:cNvSpPr txBox="1">
            <a:spLocks/>
          </p:cNvSpPr>
          <p:nvPr>
            <p:custDataLst>
              <p:tags r:id="rId144"/>
            </p:custDataLst>
          </p:nvPr>
        </p:nvSpPr>
        <p:spPr bwMode="auto">
          <a:xfrm>
            <a:off x="373063" y="29781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7117CE-13DB-4109-8866-D8DAABE68F62}" type="datetime'''''''''''''''''''''''新签''''''年''''''''''费'''''''''''''">
              <a:rPr kumimoji="1" lang="zh-CN" altLang="en-US" sz="1400" smtClean="0">
                <a:effectLst/>
              </a:rPr>
              <a:pPr/>
              <a:t>新签年费</a:t>
            </a:fld>
            <a:endParaRPr kumimoji="1" lang="zh-CN" altLang="en-US" sz="1400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20B8BF5E-2911-98BB-A39F-8A227B3747C4}"/>
              </a:ext>
            </a:extLst>
          </p:cNvPr>
          <p:cNvSpPr txBox="1">
            <a:spLocks/>
          </p:cNvSpPr>
          <p:nvPr>
            <p:custDataLst>
              <p:tags r:id="rId145"/>
            </p:custDataLst>
          </p:nvPr>
        </p:nvSpPr>
        <p:spPr bwMode="auto">
          <a:xfrm>
            <a:off x="1487488" y="29781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CB7AEA-F3C3-4D8B-9536-77DA3F166F96}" type="datetime'''''''''''续''''''''''''签年''''''''''费'''''''''''">
              <a:rPr kumimoji="1" lang="zh-CN" altLang="en-US" sz="1400" smtClean="0">
                <a:effectLst/>
              </a:rPr>
              <a:pPr/>
              <a:t>续签年费</a:t>
            </a:fld>
            <a:endParaRPr kumimoji="1" lang="zh-CN" altLang="en-US" sz="1400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04AB4DD-8800-6B8C-9F71-3C044BC006BD}"/>
              </a:ext>
            </a:extLst>
          </p:cNvPr>
          <p:cNvSpPr txBox="1">
            <a:spLocks/>
          </p:cNvSpPr>
          <p:nvPr>
            <p:custDataLst>
              <p:tags r:id="rId146"/>
            </p:custDataLst>
          </p:nvPr>
        </p:nvSpPr>
        <p:spPr bwMode="auto">
          <a:xfrm>
            <a:off x="2601913" y="297815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62E2BC-7FDA-49F1-ADC5-56695738E450}" type="datetime'''''''''''''''广''''告''''''''''''''''''''''现金收''''''入'">
              <a:rPr kumimoji="1" lang="zh-CN" altLang="en-US" sz="1400" smtClean="0">
                <a:effectLst/>
              </a:rPr>
              <a:pPr/>
              <a:t>广告现金收入</a:t>
            </a:fld>
            <a:endParaRPr kumimoji="1" lang="zh-CN" altLang="en-US" sz="1400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A22BE749-7554-B921-A558-E854008DDC4C}"/>
              </a:ext>
            </a:extLst>
          </p:cNvPr>
          <p:cNvSpPr txBox="1">
            <a:spLocks/>
          </p:cNvSpPr>
          <p:nvPr>
            <p:custDataLst>
              <p:tags r:id="rId147"/>
            </p:custDataLst>
          </p:nvPr>
        </p:nvSpPr>
        <p:spPr bwMode="auto">
          <a:xfrm>
            <a:off x="4071938" y="297815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100C86E-ADB9-4F43-8538-80707F5E8CE6}" type="datetime'''''''''品''牌''''广''''''''''''''''''''''告收''入'''''''''''''''''">
              <a:rPr kumimoji="1" lang="zh-CN" altLang="en-US" sz="1400" smtClean="0">
                <a:effectLst/>
              </a:rPr>
              <a:pPr/>
              <a:t>品牌广告收入</a:t>
            </a:fld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532032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669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hrUmpyZWzloTxQYwYP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WIFP0fN249kHZ2FE2Vwg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aTSMGt88dvRZH.MbCpa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HI21y1SwIN0W7hhNodOw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BajJOsVKSRoRbVhG.qG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sACsWh6s_GDCXgxeBvY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sM6Ogyryv2lB4pnOPjK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vFdSkerK2Ofqj3USZwA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NWcdLYQGBP8oxXfTMNQ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J_B0UMnR0ojv.WP11Kpg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Ose5AGZtHJCw__lyCWu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KOVfr7jIsILhCIYh9RIg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zI0TW9H5cghNEfixwJ8w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O1bS5aaMjHYYDlteM.Yw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9rCaw0oU7EQAhHcbNm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4HGs0lNxNEtRXelV5YP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PH.Qq_REbrzNFrmuu5g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L0DNEL6.qUg188JSQvA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_O3d1fCY3qDmFvJu0NUQ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kY9K.bBa2qDR7XC.YnFw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tLfKrKEPBY_ougQIbE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.eBGL.7xZYYgxnj8.CPw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GfSMnkmqe.E7bgwJVs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VSjKGCbDq4f6CW2xVI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8bxJ_7EhuA28X_M4.TO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NXptC.AWHVslYUhJe4ow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JCWCT56_zb6yPq2XNZv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PmsB6vC5FK.s3sc5_49g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TvzUB5epR8cULvNx0Gg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uquDVYNM19FkTRDrHE_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V_2aOCZLRZiHziPb8rg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D_QYXWTwTrvvpHER2Y4Q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va3M7UYUOTODsOsLSlQ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cviaGWlPySPPijd3IKR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TDuTJs7tzwzhQ1VxL2g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FnGEaSIE4K9V8CQuZqg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rhTLVHDqQZO1CRQgnqSg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aTi.fEcUaGQ75BlvWJ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bHBM6mfMUBiSJ2Mobag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8TCiEsnhPtQ0KdBoDwEQ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.G2P_NQK_rQ.oBMVTR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9DF1El.49MjNmbY_IK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XyzMrOay.ROo4N742UeQ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sy8XEq7aJkgtPL6ahK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yv0pvLPEvjcb3M_F.bYA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4itrIQ.JQckhDOONNUr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5Ft.brhrM9pCj9zcmsg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iKNVbfes59pDLOABDfT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_8M1fXSWXGb3TYvKkU7Q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.cDFsgycjjG6U7NR4TIQ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G9bDKTrOfQyFQ_6A_x5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esq44pO1mgB5akuu8E4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BS0o9Szw3gTj_k0fWYQ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vDieF6p4q02MfID8cLQ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6mw9aXJBPEufHyoQkR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hUr2y39zI8HJOfzw3asg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bYu8Tr.YjPreErMeSYw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XzXBE4bgt6rNhacNiHJw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2hSfg46paxa6DSi.5L7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FJhY42xGohhxrFyg0Oig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AKW2xIdfo7v9xEjh_pEw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47Hf9v9VnSBQdMos4HIA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xZjjoF.zVXKRYrIzfcl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flGGYZmsKghUNRy.FCug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tkt.mj4iVBgaAi5HwqLA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ZKpwkwAuES.fg6vMB_R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zn8MZgR8b9TKfSBpB7Xw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5Kf45StcNvvVcIsj23F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ClOwZuqREAvxO8mRNZRA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UsmwkSNBW2lOesiKa1Q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zv0W62ldLDXnrhyp8If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thWMiQRIXb13OfARvXD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taE77.c5WSbhjx1NAry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WrKo_7HiQdJsQt8wMUbg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tD9XHJtFcJTVaXX_sVIg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RyN83mLgGONqTd6tO1n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dpxR7bkfRwXifalTx4Q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HTFvthpUjIkUlYu23ppw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F6tcpvQir9s01lobRJn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YeF82nt0P0eevlpWf9mw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VmfeKBUR7Qpc0UrXHn4w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gZNNO87.bH6KdKvNBVqg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hTQvMaMbqWcl2eVyB9p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rLoQHCdvuPLuH3_P00iQ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SQ3YJ.99eomlymcJ6tc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WPgmQIEQUb8rS6Vwe7U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0tshkDG6W.D6N5_k9__g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eVAKgp3Wao4805fQtTrA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UnYHe8O9tJQ7uDQ5L0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ULyqf4rT.AOrnqPulOhQ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jTAG_Neo8j.szD86xe1g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039.sm9nCsj5sSqTzUBg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RO9Zh8ZhE9WYes6jH2D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luIRVq5X9JrumgTaVOQ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tu5J.V2tQtGXTzCRSiGQ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U6WxxAqSW61NMYDpdAo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VqCDxM4eVRybzNXNpm7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WqJU_X.yX5fzSPbrM3OQ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e25.AEjzVCCeBtOPAV.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narku.WbjL3nOJ9GAe9Q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RVlF8erlj.1Ruqeai4vg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B6jOCA6oFwVS1udNe66Q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56IrfA0eP_4G4eU0Yy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pycndeW.m0UE92tTZuJA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BJTZ0FU1bV3EA3ZzOUN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uHUXcyqFeMyRvePzKWmg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rQAo4WX.ilZI1L11lZQ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Zlzrc1stCHzaz2K9sPBg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XrYI.GJX3mKb9QXwWS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0ExvzgSXL1Xnoj1LeHqg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xup9Ui6EQ3P5R4Eb51xA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sy7SRj8uLJ0aujGuXrU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yGHwQtxeE86vcbeWAoc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SQTmdrc.EyoS4TeNYjAw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uFM70P4lkRh35oBUV42Q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ELiZ1ZQfHD6Jx3kmNXg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GYlSGxr.HNx6CNJcqv_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evNmf89SckSEyqCkVeY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U98mJlayVbNptnVPKlS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6NI4P7NrQq7Jm3oNnpUg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8imka.LVF9HthPkFhLyw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cFPSy.451GfqBWIiMIhw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UfLAGDgKk2Fr2ilgEvMg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0fKtnLYq4jpPiUeomk0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txE1movUmaSFAq6XrBN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.1xQ2otnoemXyt7Ca5P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gUWhAMOIbk5YRkifRky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boqzZBfUELx8MEyot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PWqIC6YV2J0k_JY8cX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SJbxnFQJEvlnn178g0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SL.dJX_c.NGyqDrNrXK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RLunCUsOdZfeC9vEwL3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ea_2DwlJCwxJxC6tDVd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g1ANrFQFLqlrLGTOZiA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9d9rAUk0wbvv1IOa1.0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6a.izT1w_hcGrXs6yzH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9OiKEwC17cpbvvdPTG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3U5RwVSbMvo5Buw.grD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3ehsEnJ6cf.IJC.LD8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G.dyIP2bJkPfMiJXemN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8wVCi5yjuyUbV_P76uD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QY8ai9q86q5py8VgL0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bazcFt7vqmzfsW3vbc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qsIIpf.Qxs9E1SnNKUy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6dZl5P1F8mymS8tmXq8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cMnsZc.AqFCX2KKJr4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Mznr3P0vU..VoJZyAP0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hl5.GMntgbjqQJ_H3e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dMMshXp9qcG1Ngcc2B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hDmY.L0ycYhh.RowX0y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gF6vYTwhXrdS4.aunqs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0wZBYnkj4B6HTK0RvYi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PcS6wJwypMCjYq83vXB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iGo4ID0Y6WG90iCTaJn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6yu9pXgRSdkqqWE8cci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_R_H3eDwisxjMOw._V8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t_XG5G.fnCTn_HeUBYo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BywCMco8tdeSwPZOoJ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._dsCFsTZ0tek8CqQ8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O7l1z1ejVwqKIskCqN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Qkk8N.ab_w1nl0sejE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EpSWBZGdTSLTePmbQh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ayv1Frlk2f0Ls7klDNu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xXhIa6xzYaT2Q.ZHmp_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4nksEZ4xhvtcI6I4Eod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KOUQEXU9F22kBXOaDCF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uEM3B6PQWxrOTtN1fab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bLxzH45p9rxGo1ltYPc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xfpEkCOIvE7KEmTc9P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1hb1Q8qe.RqQCvBU0w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wqrTMZ56KH1prArmIP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WUVhQWQHoqbdHa5B9MH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nTM77uAwC77tmqnmgtP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Wp84.tmv_JNrv.vaN4S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4SOCS1onSNKuYhSxzKZ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4B_Sf.9bh3RxIjs_ig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KQXJsDZOjyZs9TG59Fk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1fUxkoeLdenoYQF4vyF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ZsXCRB_usYBJbyEMS0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GRtBs5sd0smKghxVwX7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OEN62YKJRQwUaUTPNG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z_gRBIXNhTleuRR7I1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fIf3Lc_3vw6HYjsTBP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mlHjjPj4y.k4QWqXFRa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GUMVd4bsCffhr5DSn_B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ep85LIN4KwRzf6o5Jpl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26wapXpoAtuvvyNZrWe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7qHY83VfrjszNMvfx_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3d6Xe2hV9gOBXyBVsK_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fYKDN9hm2l1oScfb26l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r5X4Ur9iNpMye34rexj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ajj_Z0tKH0wASVmkWb7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qxV4wETsSICWUrs2Qc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GfZ_4vhI.z4OWzhnyP_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8SK0ZHNxWBlg9_RRes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14kHjNs.EPsIhbFkQ7o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TuvGCcxahCbcMRaWD1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o2jaPMj5V5XJ6chlJtH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bI47rEoQwQmempUs7W4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WWzu_J7EXg3K8D.h_Wt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PI89JtUJaHlMGISau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9dlb4phu77YB_0FMCs1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zhGTSpPjub6xfssDuDW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dBcbb83pebXji1IWRaF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Ji8z0KDUbUV8PlQ7tQz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SoFm1sXRaY5iVu8jhZ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PAWy3u7Fv67PWJ70vne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0sJlJWvmIpoGVDrCuJs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S_YzJ5VYAw4ZQ5EH_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_YUzgULAQj6QkLgi4Nd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jFkNNAjzBgIujKg7KVX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QgWQUZTpYKirEdQhCF_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sflCdA8KnF5DkDKUaf1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iCvmmTfA1lkzzmBEuTJ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yCvsdnSbPyVKWdb3S1R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RH7xYueKD.g.TSvq.vp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OZdM0rFeWL3UbNwZZMd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.YwW8J1Jb_8vYqQXYRB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xtJm57oHAq_nM6Sr6U0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LJ2.qyM8m4Zv5Lb96D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2c6js2J_wONNzNuRNJJ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l2gnBV9hNCAfdJPVOro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tsxoSy3_cNf1Qt6gbk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0.YzAA2xc8HNsruQ3kY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nJI.bzoRVU7gKSA1r2d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3P4d4JdE5S6Rz7AHhSD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d85XHrmFd39WuZxrwoU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WuS6o6hFcyPPIjIEXFk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cBIV0qBQmxkBnQerv8O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mzst24zFKzszUth9X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Svr51hOJkk1HTRY558s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hcOHGM9k4uuP0w4UWDL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n2EaCf8Wrcjh_J0GDmT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N_sxPrxoeV64lTvPrmO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EhVak4MkxBsZ7brrPm8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62G6VwsO2Ho7k1Sl.wc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zVcUSb5lpmuntbx7xVr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ZOUEEMTKwtt.mGi4i40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cefTKKq8EzsNBhOCW1w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7LgP9ojV5TU_PlIgUr8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3eT2G3PRHLBDrKcQvE5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VobjcPUiA0REThyTowZ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hcpXVguDmDKhI6Wmqa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8zSIi4Dj_sZPHNGfxu7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ng4bNuOqRYRryE6w1Ww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GKcYDCW6OWexZYmNyg7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W9emeJ_8EQta_98DpsX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osxk8.DnBe4mwj6DXc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MRnWxkkEega4RuDNZOK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Z9bCDJJgbU3x0RcXgR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j8IjggkqEzjC_ZzeBY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43E2VDOukKAd0QIU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t92PIum5h4u3RCk.7ww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83J3KuMkwq.vFGVBcWx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w9D4gyBwqL0B14NHK6O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Sg1tGanfOL6ziWYGB48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7XmCR2nd2lCiXUuGZ.k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iHDYmXEmyGZ78vvhhuE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S9cukyDlvutQ2ZGUjJ5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xTc5CXxnV6VX3xoFR2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hEQDbjXL3iHMnfZYWEm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Tg16FuwL.2.kcytN1Y.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WmsQ28mUtvjGZHY6N5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yTFPCelBscJ5erVi0kW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orXSPMLLfKLcXKAcfn3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TnAtbRMgeh81dPzD0K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oaQMPr2hJbG8Opoau7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ZN0Y3nGMtwOQlMDAg1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ys_d30FVqMTKB0yv2.v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Zk1DWPi4AH_ezMZiaq1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q201Ab5aghgbQV2tWM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NnTvigCG7iIjPeaTuom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5ll2FVEVI7.lL9W1sb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ep85LIN4KwRzf6o5Jpl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0Ljzf3Sf_X.e83aHmS9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5HG21K1545dOI5fbpit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GC0ZMWDuqnOjpGPmu.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uk_UQsltfGYI32dGGc2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WIFP0fN249kHZ2FE2Vw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WSyWT5vj3eiUqUc_2b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JCWCT56_zb6yPq2XNZv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NXptC.AWHVslYUhJe4o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9rCaw0oU7EQAhHcbNm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sACsWh6s_GDCXgxeBv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sM6Ogyryv2lB4pnOPjK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vFdSkerK2Ofqj3USZwA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NWcdLYQGBP8oxXfTMN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Ose5AGZtHJCw__lyCWu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KOVfr7jIsILhCIYh9RI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zI0TW9H5cghNEfixwJ8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O1bS5aaMjHYYDlteM.Y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4HGs0lNxNEtRXelV5YP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PH.Qq_REbrzNFrmuu5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L0DNEL6.qUg188JSQ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26wapXpoAtuvvyNZrWe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_O3d1fCY3qDmFvJu0NU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tLfKrKEPBY_ougQIbE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.eBGL.7xZYYgxnj8.CP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GfSMnkmqe.E7bgwJVs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VSjKGCbDq4f6CW2xVI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8bxJ_7EhuA28X_M4.TO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PmsB6vC5FK.s3sc5_49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vDieF6p4q02MfID8cL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.G2P_NQK_rQ.oBMVTR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uquDVYNM19FkTRDrHE_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va3M7UYUOTODsOsLSl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cviaGWlPySPPijd3IKR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TDuTJs7tzwzhQ1VxL2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FnGEaSIE4K9V8CQuZq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aTi.fEcUaGQ75BlvWJ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bHBM6mfMUBiSJ2Moba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8TCiEsnhPtQ0KdBoDwE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TvzUB5epR8cULvNx0G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XyzMrOay.ROo4N742Ue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sy8XEq7aJkgtPL6ah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7qHY83VfrjszNMvfx_A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yv0pvLPEvjcb3M_F.bY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4itrIQ.JQckhDOONNUr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iKNVbfes59pDLOABDf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_8M1fXSWXGb3TYvKkU7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.cDFsgycjjG6U7NR4TI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G9bDKTrOfQyFQ_6A_x5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esq44pO1mgB5akuu8E4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6mw9aXJBPEufHyoQkR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toNX5mySk3boM4FdXBN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b65O8eiHvLkLL3MNky5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IDNl_fPTk5JeejihSHf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zcNC2RTiY4Uh7hDMdh2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djIuDgyxJxqADPIWHGO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4tpSlF6sTqz4HRTM8p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Y_iZOHxFXXZuZaGSZL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fKmO91RAQgVWwVTWEm8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jM7umoOYyBs6rY9BsKb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cgn_YF6tCcg6CBLJc4S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JipQbIofvC_w9N8j2Zj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i_coaEv7JPSfoLwqwvi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F9FmKz2sMRilvWRVTl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1uRKs9wwJXZCIea1LwC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Vg_VIZmaFfZmDACAx.J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luIRVq5X9JrumgTaVO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zv0W62ldLDXnrhyp8If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ZT1tjYvvu8DCCngDoIx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ww_Cu1sG6CE3OcQRjQG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gcWJQ4QsD.VqIHrkkRv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XbbwF_CiEGV9iWGAPd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e25.AEjzVCCeBtOPAV.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dpxR7bkfRwXifalTx4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ABnpjMv6VBIWgEa4ws7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cNwjq_wS4eIUyESvxOe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KV8dF4Kg.VHTLvtrNkT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5X4EZYZCX921jnqK8me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yon2MrPIE8DRlozK7vY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odfew0hSXp.vgF6NS9d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ClOwZuqREAvxO8mRNZR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Wj7MPqrLCaCYZao0cIs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vCBOZjfIWnx3I5uKfV_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T6jDezzb3ocJdSpG6rz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x5oFa4F7WmSFSGG4tz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UsmwkSNBW2lOesiKa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lKkTxNTzd1o4TCqobx1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eVAKgp3Wao4805fQtTr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UnYHe8O9tJQ7uDQ5L0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cd9mp67ZoSKW7qXMOnt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ZKyVQrp8QEsrAwqRYpV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DhuXbRGDXjIf.IEbJmP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e2BS_kLRr.J4rTnbMe3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go0WGvYDSkIyEq_JLW6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7x2LQU8Vh85jJxMEP03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IJU1Q0Hotp7hnbM.g..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B6ss2YeA.iXO8GlXxT5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UF3Bgx2AaSRbdXvUdq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RpgKKbnfozyTpJp9YrJ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g1F6kICOhhF2TVjEXFK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k8YgDOeVn2SxApEASMq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n8cCLrHTHAQr5FryZr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ZfbBuOtaPeIRxDKzGa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7NBfL4CKPoXJUn5QHR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UPMj1BDtzW6Sip0ubEN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38VLvwTA2tgmyy1IzSE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4p2Rt6NaXw647HcATT5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ma1UM45_M8_58MrIr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qEgDhg9zh7T6UtSoAJ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U6z5BjYRGKeHyzBOmLR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lvP0iRmLZbFfwFoVeqv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eimGn4xHtGd5OK2tMNM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6AhQw2crD4suL_BPow5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Kn_xHdGT3ZgE.jWfm7d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rnL4WbNn38hhbvz_AoB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VGd5x2M3Dg9bhAEzsgm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8dBLakWYqbnbF3fn5Xb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RDd.RhfVG3p._ndDWL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bBJBassr_dx2ghdGfqz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9DHDv.cE6NM1Z9Xmt8b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Va2AQQ3Tt6IsgXnvGzp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HF_lGXyD_fFIFkfmfLM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z3.HqvsOysm1M2P0FSg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1KYJjkJ16XInaZcgsy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95NBvGIkVILQwwXKUuY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e7Zx7mEgpFs0kDEcCri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QerHV8fS9cTOtA2ez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xSTgXI.EFlbMU9qPxse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sfrgAsZoO41SvZb01ER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8ofNfU6tm6S1WFwMeYQ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VjA.hXAZmqTyNWOsdjn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pU7go8d2SH2R8EokPAo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WSZ7aCdYKPTGU7rJ19c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nAW2UCaaKLzT99npPV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W3wWBgu91sB0mXBFq9m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xR.R_luVAMTzHxtL2SC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v66_iYZcmio8wpxB5Ts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_jpgLPkUytMjraC5Uf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qmo_npq6rEDEolnaef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9pnecFqBIErRHE_jmb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GnC3b_zIxZGf2n09nCn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JXCmG_3BvaTLQyBeBLx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qb.nVefLK3mX92bEaFW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zkFnx27M.aNCDmJHLgd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qboqGYF3oqpt7hrxs6B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4.NMrVV3ri57c3TU3Rz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u82xiCIv9nP8Pm37v0.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_IUK3Vk8UCrDptfdiDp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GpNn1Ik4hwH0nvzR9d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t9WZdzm3oUtFr_bnpvE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v2dNagTd01lDpU8L_Y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BUBz5TFzYKo_d1y7YXA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LB.PSGojH3bFzQAGbZv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_SKY_5HrgGW0T64fbcZ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gI_Tpf1ctv_0cT5.4xR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7_iZB_e5iVb8pwZtaZv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AT8sN6qvneM.q..xG_F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11jWciUVcx9FXitYaix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Qy6OsESmTtIdGPAAUhn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fS7Jl5Y7H2..NOrrOrT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3xef9kjAuWR6YWTdAB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FMbsqu3v97.HrXOX1.R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yWk80yAWUiBSD4GX6f9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hrf9Q5qEMV6L_cd1pDj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Di7SOjrHmAZ4nLSdHXD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NcL9ReuLAoIgSSWj_JM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NknBO5NXFYzr5xG.ff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nPCmqIDnDAnIGdKdF6B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YfvOxNny6oKbZ1Rjw7P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9KxfzzYFzULF5WRdVUy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j3AG.6v8YHDlOZAysSX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y86pmdl8qfB1sE0.B54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sxL0CyNeDHx4._37zf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U8XCTWFBs1GOhwYyOt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nmzIZJRYfMZpR5grLDK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m2GVbm0J9VpcNjZMhCY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PMAdjsPVxhVOBAduR.O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a8SuCpBlATvMSqIfN_1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2JeDs49KSP1.DnSQmzd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tmBorpVA6tX8c0mB781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nAW.U_9omOjpLLsXGE6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uH6y69e2VO1bbB._SAP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x7NmSyhomZfjEWTJ9L3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e8gw4sPVotTQwguOgj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Hr0iIkc.b5fGdJirxMR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F9d8lNrBLhF7GektsZr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GLw0sihada2FXycQkqC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pLnRm6dQbEY_195oOc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uEpYj_.GRPXaKhZ0t_Q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ay9CtR0VrjrJ68Bad6m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4nDK1oqawF.BqbjqJMe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wt_Cew_I2BTli3QNWqp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w6q7FME1Gtf4lPbu3H7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YDcyu0VoZKpAtq2M7d8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PW2dbTx044Q8PERpAJH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PUVSbSyBhLYuGy38ToG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O01p4Va9vyyU1SfBDpq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RBSB5JxIY9lp4pvV540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pNSSqBmKZ8SmHaxvUUl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jMXVp_iJROPDbZc9rQj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WR_axZlbe1ZH2wEaBXQ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ngI7I.peoUAFMmBZL8E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64eHBgktJfT5szBM1Ya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SAdJCvcRKpHaYmWnUh6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kV6czN9rPjrLzg8xIv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qSqXm0Q3JaLsXPLwQgK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ux3jTf6pNdZ.Mv58N5u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HAfPE0WOjvgw9sGJF7k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sMfs99UzcXne9_YwDp4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dPQrmc5Dh0.Epfnb1gH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liHrSfmdxlKmUnEI8iw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f28OGsuZ9yvu7c1Q7K3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Ubx1zXoeQmfV8.7ZaUn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g..mYFYoH.YG7I5hAY2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c3IM0qMhbwvH4B7RXd9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wZbEQ0es72DnbxgdcKz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0MlkxSGlD3rg91sAIOA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2ScjJswojkRx7ntniab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gPpnVY9IeOFUxKwLtP1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ku4xCL77wC8FdMOD.cd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MnLpkAkjw3FK8y5LREx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DAH_QGM2vq.ZX4She1s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OPcA8KI_6NBEdKIajbo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lrMXT2382TCNJz3xm9f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1qVryqXddZnqUa3Dbp9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yZNey37J7OE9yXQm4I3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Hm0XoyCHWnfD2LOLczu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DPHwY_n2zKTuVqbUe0L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RXPmZFjCwzgNfYsqsNd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3yCg_rwZ_uUm3A3YDz7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.pLL4PtZfvXXV8TCgqj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..X2m3ljMMT.9c45cm0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7O7QTR1EWobjbanOcNl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ITIDCiM2GeU6buKp.M5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dpXWZYb_GxBlVjXh5vB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LDcg9xbq3jdzXgoBWA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_I.NkErJO9q272nfG5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Wan0.F7h8o.gLRW27C3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fF_16N_CsrMo.xT5Gju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D6Ex.jQFR3ba9Jd8csM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hlZ0fjfIhKxQWOWmSZy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6vLX_UqJ_nel0XGCkF8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.sTTFL6HBV0bNuYoVoO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_r0dWaGeEi0_lGBdWyf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KZ1rw3tjzbO0bVAuAw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_bECRnmzV4Um36p_CsJ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fEhmjwblZ2m6_6sqhec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p_Bs11WpLNYOm3tVSt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rqgdOcJdvpu85tLrf3A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Y720CSedASYGQo2Io0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Bsdd0va3CDQZIYm_uAg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jSSNIoZri58E.LqLQsx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y5RFXMzZQDQvF_hVi_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Pi.saAByz1CWas69AF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_BJR.4OBPpAnSGPGli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Q_wa7AJJ7tCyDQqi4I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g1QACdCWYy3OetmGlRI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xIJuNgM3.jWPXQqAoV_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zQO5.0tSxh1Xgju3Um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Ao9zOncMQdjzRUqjafD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5xRS.ruBqJMg7Ewo8Uw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fCvAJzfsusbmnMMZ2K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IjexDXKZr05vttHvD5w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WWN7_3R9geqOd3JaznP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l9Eatfrtf4aOwAN7YCB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x2MD0vgeGsG0kAbqAFP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VITzQBtZ5nq6jWJ87Db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b2P.AAGdwO3pi1xy6Sl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TQ0nRRCZcLXfv_L73RB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_NswJnTFvTrdriv3rX_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sHlTMRpVOupNi88pB_y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YtanByQJUuE_zAkNEc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vKMPLIa.KT52tAP_.xo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4BYQGnvw_pcXKRJ411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eVXKonod5EAqODGjwu0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pufV._lNceIRyvwVIHc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HHriCGHR74x3KH03z3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538OeT1cP4kJKqsJNi2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536YK0bk52jnXS5mXHs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dg1HVHEy6aFNudAfWag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bGIgMOCw0jOQ95rogF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9.br6zgcYUTTZS4Pjm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DH_YKVYYcgYal3Q0LSz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N0br0YENx37qEiQMrhaQ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n9mNEle.fGyvII8Ryp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IRrvMOuVHXV6qRQyRSWg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uQxJb2sRsQqB7W.WVX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GYwPVa0GKjnQ46eJdDx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LUdkprHbTRUqpg5zufd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_Phron_S08HhzJhvPnh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je90PBWmSUOq.W85U6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QwPcMvVQdgi3qtupz7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8TXF_S.bcWFqaGEvzcD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Zpvx36kcswv0mjZhRRw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0IiNaduYHxFlDl4yzOx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yuUAnNhG3eXqYXH6O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bNqQbtAuMX2g8GJ6XZ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3370jklM8J.PQhIj0.g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7zMxHPzIrPgiGdJWZq4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1Xws1afsTRjimqbublQ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EiRDRgkHw2hLEAzM1F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RyEOmw81Okq6AtF0l1z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a_hQj_6KZy58xrdVZKp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ZuGK7EWsn3bxLYf7Leb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iKMgZrta3nxIhXeJznS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PKQQo0KcwDc3IGwEdk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E3bpD7oRqMwkWlVY0rU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ZTWoCjo8Hz_Dl7LOkIX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HVWD46nrkY3WVamSido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E5_DcLbh2WTZLVDoCeI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Mu9bvBflnOfECa5Qo_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_EkYjCO_r_SzkH7wcil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iUVzvnMD9e7zc8Td3vv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73gRa3yolWDkZAebNWq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4HsqOEA1NUBozxnfMV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PQpwUlwMRfcp21lVOz0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lhtiAi3Nn5XCxABSL.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XRrNE7vFbje2mTfUJb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3WJ_9tD4j2CHt._lSD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BF1_8NXaUqynOR4aRo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yauVBQCytNbOxN6QfC4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EmQk2mn0_TD.LWN4GFW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8QUGfalj6XQ349jDpkq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fbJJIPy0tkTbfj5OBBb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JzCRvvJZWonCHDK6y0h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KGS8Quo57LwDKx6G4e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6_DDL9VqF1bbV39Cqm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4lGVMFXLkCI0hBqbhE0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oWBg7l.jk6m.nrdPMI3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ej49A.b6zqTY30w33J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SScB4V9ys6D9HD1E1b_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H..CYWVT0Y7QBrT4viI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tpBW1Qc9MQrbgOMnKZd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ccd2Mb441MyVvBwG1z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VOmf4FrY6GR5HhPflhm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RpJwtvIczO13I5wlunUg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emHs0gvKRSu0Q0v_xK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AIYOo6AyN71fQnWlORDg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XlcY.C8PTDouMnfz12t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Ac3rpzyXb_.A2Dlpvjd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px4vOyy_XBuXrJPdm.NQ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DVs.aKpIkRUWk5_gDOZ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QKXokOpHfiq2FNVeAZQ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VRJQekTy3GVWWsfghvP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RRYlEcedZxZWH2QVxe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ia2bC6m3AZQHpDcfFrn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bSRJ.PNLCKKPZ3eDTI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0LgjY6nbI7VngjCNtt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rfGRkKYiqwcnEy6PsvO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WJk..30N40fcA7EIpi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NleOqEFzheb38VzKkEv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OJGN4EEN31Sys9VJaJ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Oy86O1l.vaw1OW4P2rZ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5M9V5iQIiCT.BaKednW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BuXwu5OIGw2igfDEWB6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BTD1ok3J7cntflmos_W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fcRXXg_KxDtFSGBkx9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G7iek5.pAfVCA9eFV84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jvrgFLyRzA4TUtwsPv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bdGDvXtv1aeLlDPZu8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DZSX1p1PdxDb7aC.j9O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CTEWX8Oire9qCA.JIK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_6Njl0LKIqYemg19Hmp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nY8x2Cy9RyaxcpkrAuE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VHhZw6W3zkDbEyRltUC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Mnr6Oagzr7b8FDduZP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UV9JOyY0aGoQId5x8A8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DNMUnakiJ9h_89vhIi9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9yCaIzCTdsijIUuAe81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_cSwhQ2q0EbJIda43RU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1sKc.yWDpf.zuVf.Ym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pz6uLsQqdd2EjSzq_s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YhvMVJjlJe8Vlt7FEYt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Y2HMJsN1ymgyDjec_N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.VzAMFdzy0ijrRZgBqH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l_4UhaGuyTWI9GfBNc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zMzPgGa.bbBBOTHj0yx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E_SHqVEY66iuY.BFZe.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5DDY8j2Ac_jNrTgjISE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27nSC27z_puwLtCZJPY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azMATnE_WatnIHAQDa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un8jr8Ms3ADWekZMpHt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EJll5J5IjIvomnc0Sm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Xs8m78BvhHEsMgaesI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DBa96pRWNEEtpbXmpT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WkQfBRFtqblsameBUXz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KZ1rw3tjzbO0bVAuAw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852Zap6M54UbsRNJErM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_bECRnmzV4Um36p_CsJ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fEhmjwblZ2m6_6sqhec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p_Bs11WpLNYOm3tVSt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rqgdOcJdvpu85tLrf3A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Y720CSedASYGQo2Io0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Bsdd0va3CDQZIYm_uAgg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jSSNIoZri58E.LqLQsx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y5RFXMzZQDQvF_hVi_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Pi.saAByz1CWas69AF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_BJR.4OBPpAnSGPGl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ppqLdJzLMRuhkqd9x7r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Q_wa7AJJ7tCyDQqi4I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g1QACdCWYy3OetmGlRI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xIJuNgM3.jWPXQqAoV_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zQO5.0tSxh1Xgju3Um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Ao9zOncMQdjzRUqjafD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5xRS.ruBqJMg7Ewo8Uw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fCvAJzfsusbmnMMZ2K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IjexDXKZr05vttHvD5wA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WWN7_3R9geqOd3JaznP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l9Eatfrtf4aOwAN7YCB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x2MD0vgeGsG0kAbqAFP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VITzQBtZ5nq6jWJ87Db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b2P.AAGdwO3pi1xy6Sl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TQ0nRRCZcLXfv_L73RB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_NswJnTFvTrdriv3rX_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3cJdiZbf9PY5hZM9uVR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YtanByQJUuE_zAkNEc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vKMPLIa.KT52tAP_.xo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4BYQGnvw_pcXKRJ411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eVXKonod5EAqODGjwu0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pufV._lNceIRyvwVIHcA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HHriCGHR74x3KH03z3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538OeT1cP4kJKqsJNi2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536YK0bk52jnXS5mXHs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dg1HVHEy6aFNudAfWagw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bGIgMOCw0jOQ95rogF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9.br6zgcYUTTZS4Pjm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DH_YKVYYcgYal3Q0LSz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N0br0YENx37qEiQMrha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n9mNEle.fGyvII8Ryp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uQxJb2sRsQqB7W.WVX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GYwPVa0GKjnQ46eJdDx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LUdkprHbTRUqpg5zufd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_Phron_S08HhzJhvPnh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je90PBWmSUOq.W85U6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QwPcMvVQdgi3qtupz7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8TXF_S.bcWFqaGEvzcD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Zpvx36kcswv0mjZhRRw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0IiNaduYHxFlDl4yzOx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yuUAnNhG3eXqYXH6O2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3370jklM8J.PQhIj0.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EiRDRgkHw2hLEAzM1F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Mu9bvBflnOfECa5Qo_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ZuGK7EWsn3bxLYf7Leb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RyEOmw81Okq6AtF0l1z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a_hQj_6KZy58xrdVZKp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iKMgZrta3nxIhXeJznSw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PKQQo0KcwDc3IGwEdk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E3bpD7oRqMwkWlVY0rU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ZTWoCjo8Hz_Dl7LOkIX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HVWD46nrkY3WVamSido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E5_DcLbh2WTZLVDoCeI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4HsqOEA1NUBozxnfMV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_EkYjCO_r_SzkH7wcil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iUVzvnMD9e7zc8Td3vv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73gRa3yolWDkZAebNWqw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PQpwUlwMRfcp21lVOz0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lhtiAi3Nn5XCxABSL.T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XRrNE7vFbje2mTfUJb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3WJ_9tD4j2CHt._lS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BF1_8NXaUqynOR4aRo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yauVBQCytNbOxN6QfC4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EmQk2mn0_TD.LWN4GFW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8QUGfalj6XQ349jDpkqg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fbJJIPy0tkTbfj5OBBb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JzCRvvJZWonCHDK6y0h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KGS8Quo57LwDKx6G4e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6_DDL9VqF1bbV39CqmR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4lGVMFXLkCI0hBqbhE0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oWBg7l.jk6m.nrdPMI3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H_vqmJRn9bJf_ZHqSyf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ej49A.b6zqTY30w33J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SScB4V9ys6D9HD1E1b_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H..CYWVT0Y7QBrT4viIw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tpBW1Qc9MQrbgOMnKZd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XlcY.C8PTDouMnfz12tA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okB7oAHvrmHtrF7XEkn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Y.qo8eEJeF3cNhstuKi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.45za._XxtL09N86UJ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31UPoJwOzczPJOAApLP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KUBxzFwqVGZa.i4oFyY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6dllksZ6ZZKuu.a.zp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ccd2Mb441MyVvBwG1z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x55akl8k3PHosQUpiIQ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4IEDPbFEuPWRxGpuV3q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VOmf4FrY6GR5HhPflhm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R5pHuEy2Jdh8.93Vk1O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_6Njl0LKIqYemg19Hmp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DVs.aKpIkRUWk5_gDOZ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rfGRkKYiqwcnEy6PsvO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WJk..30N40fcA7EIpi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NleOqEFzheb38VzKkE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xme9RnZAYJpav76lFnQ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OJGN4EEN31Sys9VJaJQ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bSRJ.PNLCKKPZ3eDTI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Oy86O1l.vaw1OW4P2rZ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5M9V5iQIiCT.BaKednW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BuXwu5OIGw2igfDEWB6g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ia2bC6m3AZQHpDcfFrn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px4vOyy_XBuXrJPdm.N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fcRXXg_KxDtFSGBkx9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VRJQekTy3GVWWsfghvP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jvrgFLyRzA4TUtwsP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QKXokOpHfiq2FNVeAZQg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bdGDvXtv1aeLlDPZu8A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DZSX1p1PdxDb7aC.j9O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CTEWX8Oire9qCA.JIK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nY8x2Cy9RyaxcpkrAuE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VHhZw6W3zkDbEyRltUC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Mnr6Oagzr7b8FDduZP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UV9JOyY0aGoQId5x8A8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DNMUnakiJ9h_89vhIi9g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E_SHqVEY66iuY.BFZe.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9yCaIzCTdsijIUuAe81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_cSwhQ2q0EbJIda43RU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1sKc.yWDpf.zuVf.Ym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RRYlEcedZxZWH2QVxe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pz6uLsQqdd2EjSzq_s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YhvMVJjlJe8Vlt7FEYt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BTD1ok3J7cntflmos_W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Y2HMJsN1ymgyDjec_N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.VzAMFdzy0ijrRZgBqH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G7iek5.pAfVCA9eFV84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l_4UhaGuyTWI9GfBNcQ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zMzPgGa.bbBBOTHj0yxQ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0LgjY6nbI7VngjCNttw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5DDY8j2Ac_jNrTgjISEQ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27nSC27z_puwLtCZJPY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azMATnE_WatnIHAQDa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un8jr8Ms3ADWekZMpHt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EJll5J5IjIvomnc0Sm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Xs8m78BvhHEsMgaesIg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DBa96pRWNEEtpbXmpT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g.uwkiV.3UvvWuR63.z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WkQfBRFtqblsameBUXz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w9D4gyBwqL0B14NHK6O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ZN0Y3nGMtwOQlMDAg1Q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S9cukyDlvutQ2ZGUjJ5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7hCfVgw1DQ4eWp15uF1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xTc5CXxnV6VX3xoFR2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hEQDbjXL3iHMnfZYWEm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Tg16FuwL.2.kcytN1Y.g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yTFPCelBscJ5erVi0kW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X4L.ArxoafRKinGB1Iv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QgUtp9TCcV64nqOEew4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orXSPMLLfKLcXKAcfn3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TnAtbRMgeh81dPzD0K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oaQMPr2hJbG8Opoau7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iHDYmXEmyGZ78vvhhuEA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lMLrUnrVyZSOArXrYYb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ys_d30FVqMTKB0yv2.v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Zk1DWPi4AH_ezMZiaq1w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q201Ab5aghgbQV2tWM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NnTvigCG7iIjPeaTuom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1eoirhbhaMiUAKksRfB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5ll2FVEVI7.lL9W1sbTQ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0Ljzf3Sf_X.e83aHmS9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5HG21K1545dOI5fbpitQ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GC0ZMWDuqnOjpGPmu.Q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uk_UQsltfGYI32dGGc2w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7XmCR2nd2lCiXUuGZ.kw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WIFP0fN249kHZ2FE2Vwg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TbErrb7ao.PUMSm0FYIQ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TedhOd._nwyJETiaLxn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zI0TW9H5cghNEfixwJ8w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BajJOsVKSRoRbVhG.qGQ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sACsWh6s_GDCXgxeBvY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sM6Ogyryv2lB4pnOPjK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9rCaw0oU7EQAhHcbNm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vFdSkerK2Ofqj3USZwAA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NWcdLYQGBP8oxXfTMN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J_B0UMnR0ojv.WP11Kp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Ose5AGZtHJCw__lyCWu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KOVfr7jIsILhCIYh9RI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NXptC.AWHVslYUhJe4ow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O1bS5aaMjHYYDlteM.Yw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HI21y1SwIN0W7hhNodO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4HGs0lNxNEtRXelV5YP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PH.Qq_REbrzNFrmuu5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L0DNEL6.qUg188JSQvA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_O3d1fCY3qDmFvJu0NUQ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kY9K.bBa2qDR7XC.YnF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tLfKrKEPBY_ougQIbEw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.eBGL.7xZYYgxnj8.C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6f6qSL8rH5jkl_3pP76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GfSMnkmqe.E7bgwJVs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VSjKGCbDq4f6CW2xVI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8bxJ_7EhuA28X_M4.TO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JCWCT56_zb6yPq2XNZvw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PmsB6vC5FK.s3sc5_49g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TvzUB5epR8cULvNx0Gg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uquDVYNM19FkTRDrHE_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V_2aOCZLRZiHziPb8rg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va3M7UYUOTODsOsLSlQ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cviaGWlPySPPijd3IKR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3vJ9uGz3mDZmZ7ltxe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TDuTJs7tzwzhQ1VxL2g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FnGEaSIE4K9V8CQuZq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rhTLVHDqQZO1CRQgnqSg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aTi.fEcUaGQ75BlvWJ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bHBM6mfMUBiSJ2Mobag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8TCiEsnhPtQ0KdBoDwE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.G2P_NQK_rQ.oBMVTRw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9DF1El.49MjNmbY_IKow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XyzMrOay.ROo4N742UeQ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sy8XEq7aJkgtPL6ah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yv0pvLPEvjcb3M_F.bY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4itrIQ.JQckhDOONNUr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5Ft.brhrM9pCj9zcmsg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iKNVbfes59pDLOABDfT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_8M1fXSWXGb3TYvKkU7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.cDFsgycjjG6U7NR4TI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G9bDKTrOfQyFQ_6A_x5g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esq44pO1mgB5akuu8E4A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vDieF6p4q02MfID8cL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6mw9aXJBPEufHyoQk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hjJnj5js7cQz5tXHKn6w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Jq2HO3ebWvNcylW4LtUA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wVJDRQUpLEtrdJ2dIB3w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5Y.TsxlvRiL36fHelLw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U3itTT3EFYmB.JmcXHQw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1FlBJ6Yw5HJ7mmetsmYg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fqTJ13XkOaFCal_B0Ul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Gx.8xrXdtODjKWggqm8g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thWMiQRIXb13OfARvXDw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4JDyDge5._ELJrU.hiD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BJTZ0FU1bV3EA3ZzOUN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pycndeW.m0UE92tTZuJ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e25.AEjzVCCeBtOPAV.w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WqJU_X.yX5fzSPbrM3OQ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VqCDxM4eVRybzNXNpm7w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U6WxxAqSW61NMYDpdAoQ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tu5J.V2tQtGXTzCRSiG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luIRVq5X9JrumgTaVOQ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0tshkDG6W.D6N5_k9__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gZNNO87.bH6KdKvNBVq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VYm5zn1CrRt96reZzxg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taE77.c5WSbhjx1NAry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Zlzrc1stCHzaz2K9sPB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zv0W62ldLDXnrhyp8IfA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rQAo4WX.ilZI1L11lZQ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UsmwkSNBW2lOesiKa1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WrKo_7HiQdJsQt8wMUbg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tD9XHJtFcJTVaXX_sVIg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AFP287ivd0Zxi5QtodNQ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RyN83mLgGONqTd6tO1nA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puytZv1UKjaP0wOMlSh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aztlc5_LntEkrsc4w1WA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dpxR7bkfRwXifalTx4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HTFvthpUjIkUlYu23ppw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F6tcpvQir9s01lobRJnA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YeF82nt0P0eevlpWf9mw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VmfeKBUR7Qpc0UrXHn4w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ClOwZuqREAvxO8mRNZR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hTQvMaMbqWcl2eVyB9pg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rLoQHCdvuPLuH3_P00i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SQ3YJ.99eomlymcJ6tcg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WPgmQIEQUb8rS6Vwe7U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eVAKgp3Wao4805fQtTrA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PYwaCZgBhlCiQarsFnc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ZPVPU74PDWMYfz1V92xQ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Fdr16WBajbyrBMss1WeA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y62gNAWk0BOmx8zFJYZ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puhzSUSD2NS4TktdBjJw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UnYHe8O9tJQ7uDQ5L0w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uHUXcyqFeMyRvePzKWm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XrYI.GJX3mKb9QXwWS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0ExvzgSXL1Xnoj1LeHq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fBvHw_QCTaXhGglnTHg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xup9Ui6EQ3P5R4Eb51xA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sy7SRj8uLJ0aujGuXrUg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yGHwQtxeE86vcbeWAoc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uFM70P4lkRh35oBUV42Q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ELiZ1ZQfHD6Jx3kmNX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GYlSGxr.HNx6CNJcqv_g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yNxlCdWaXGTF9voFwza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QVmI32j2hUlQhaRPLQeg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Z2bRRfEUNAGVX13_0DAQ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ZN4._dpoD1Oy6rXSd1N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LtztBmxcS5JZqMFB7fD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An_xH0WvqtCPe_L.oYPw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qHUNVL7mdYSK9WDCwpmg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rdw0oZ61IlAzt6yTEETg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w9D4gyBwqL0B14NHK6Og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q201Ab5aghgbQV2tWMA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Tg16FuwL.2.kcytN1Y.g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yTFPCelBscJ5erVi0kWQ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QgUtp9TCcV64nqOEew4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YVJzQAMWgIirCnPk0d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orXSPMLLfKLcXKAcfn3g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TnAtbRMgeh81dPzD0K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oaQMPr2hJbG8Opoau7w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ZN0Y3nGMtwOQlMDAg1Q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lMLrUnrVyZSOArXrYYbw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ys_d30FVqMTKB0yv2.v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Zk1DWPi4AH_ezMZiaq1w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hEQDbjXL3iHMnfZYWEm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NnTvigCG7iIjPeaTuomA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1eoirhbhaMiUAKksRfB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fZs3J8paPbc_8qDXYKw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5ll2FVEVI7.lL9W1sbT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5HG21K1545dOI5fbpit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GC0ZMWDuqnOjpGPmu.Q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uk_UQsltfGYI32dGGc2w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e5x_Zxj67vXR_EJKtYg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dUw3T3hEt3usQ8kfWjgQ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exmmkTtItbW3Y_KiA5tA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DrEoDgJNbyDSv6_H5P1g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1XfoZaoxP3CmbAobnqN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xTc5CXxnV6VX3xoFR2Q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191</TotalTime>
  <Words>1161</Words>
  <Application>Microsoft Macintosh PowerPoint</Application>
  <PresentationFormat>全屏显示(4:3)</PresentationFormat>
  <Paragraphs>973</Paragraphs>
  <Slides>9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5" baseType="lpstr">
      <vt:lpstr>等线</vt:lpstr>
      <vt:lpstr>Arial</vt:lpstr>
      <vt:lpstr>Calibri</vt:lpstr>
      <vt:lpstr>Calibri Light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黄文武</dc:creator>
  <cp:lastModifiedBy>黄文武</cp:lastModifiedBy>
  <cp:revision>18</cp:revision>
  <cp:lastPrinted>2026-05-18T11:33:27Z</cp:lastPrinted>
  <dcterms:created xsi:type="dcterms:W3CDTF">2026-05-18T11:32:30Z</dcterms:created>
  <dcterms:modified xsi:type="dcterms:W3CDTF">2026-05-19T08:02:19Z</dcterms:modified>
</cp:coreProperties>
</file>